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</p:sldMasterIdLst>
  <p:notesMasterIdLst>
    <p:notesMasterId r:id="rId26"/>
  </p:notesMasterIdLst>
  <p:handoutMasterIdLst>
    <p:handoutMasterId r:id="rId27"/>
  </p:handoutMasterIdLst>
  <p:sldIdLst>
    <p:sldId id="265" r:id="rId6"/>
    <p:sldId id="639" r:id="rId7"/>
    <p:sldId id="638" r:id="rId8"/>
    <p:sldId id="626" r:id="rId9"/>
    <p:sldId id="645" r:id="rId10"/>
    <p:sldId id="640" r:id="rId11"/>
    <p:sldId id="643" r:id="rId12"/>
    <p:sldId id="659" r:id="rId13"/>
    <p:sldId id="647" r:id="rId14"/>
    <p:sldId id="655" r:id="rId15"/>
    <p:sldId id="654" r:id="rId16"/>
    <p:sldId id="624" r:id="rId17"/>
    <p:sldId id="641" r:id="rId18"/>
    <p:sldId id="657" r:id="rId19"/>
    <p:sldId id="315" r:id="rId20"/>
    <p:sldId id="649" r:id="rId21"/>
    <p:sldId id="634" r:id="rId22"/>
    <p:sldId id="658" r:id="rId23"/>
    <p:sldId id="586" r:id="rId24"/>
    <p:sldId id="264" r:id="rId25"/>
  </p:sldIdLst>
  <p:sldSz cx="12192000" cy="6858000"/>
  <p:notesSz cx="6797675" cy="9926638"/>
  <p:custDataLst>
    <p:tags r:id="rId2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rontpage" id="{37E5F502-5FA6-4DC1-87AA-BAB7956E1AB7}">
          <p14:sldIdLst>
            <p14:sldId id="265"/>
            <p14:sldId id="639"/>
          </p14:sldIdLst>
        </p14:section>
        <p14:section name="One-slide summary" id="{47D48A69-B0E1-42C4-B56D-39A70558E56F}">
          <p14:sldIdLst>
            <p14:sldId id="638"/>
          </p14:sldIdLst>
        </p14:section>
        <p14:section name="Introduction" id="{637B4947-A8E7-4651-8A68-12CF8F43B325}">
          <p14:sldIdLst>
            <p14:sldId id="626"/>
            <p14:sldId id="645"/>
          </p14:sldIdLst>
        </p14:section>
        <p14:section name="Technical View" id="{E036DE60-1715-4A44-8051-5E82DACE6231}">
          <p14:sldIdLst>
            <p14:sldId id="640"/>
            <p14:sldId id="643"/>
            <p14:sldId id="659"/>
            <p14:sldId id="647"/>
            <p14:sldId id="655"/>
            <p14:sldId id="654"/>
            <p14:sldId id="624"/>
          </p14:sldIdLst>
        </p14:section>
        <p14:section name="Project View" id="{8CD620F7-7EF0-47DA-8FD5-BAC47A1BF056}">
          <p14:sldIdLst>
            <p14:sldId id="641"/>
            <p14:sldId id="657"/>
            <p14:sldId id="315"/>
            <p14:sldId id="649"/>
            <p14:sldId id="634"/>
            <p14:sldId id="658"/>
          </p14:sldIdLst>
        </p14:section>
        <p14:section name="End" id="{78F1EFFA-C05D-444E-8516-F710662A0ACA}">
          <p14:sldIdLst>
            <p14:sldId id="586"/>
            <p14:sldId id="264"/>
          </p14:sldIdLst>
        </p14:section>
        <p14:section name="Sandbox" id="{5EF49FB5-68CA-41A2-B6D8-DBA4234058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FFFFFF"/>
    <a:srgbClr val="B9E0A4"/>
    <a:srgbClr val="70BF43"/>
    <a:srgbClr val="F15D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>
      <p:cViewPr>
        <p:scale>
          <a:sx n="100" d="100"/>
          <a:sy n="100" d="100"/>
        </p:scale>
        <p:origin x="816" y="3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F64845-E6BF-4003-9126-DD77BCDDD257}" type="doc">
      <dgm:prSet loTypeId="urn:microsoft.com/office/officeart/2005/8/layout/hierarchy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4CB38D8-825E-43C8-9C1A-E0680BA1B9E2}">
      <dgm:prSet phldrT="[Text]" custT="1"/>
      <dgm:spPr/>
      <dgm:t>
        <a:bodyPr/>
        <a:lstStyle/>
        <a:p>
          <a:r>
            <a:rPr lang="en-US" sz="1800" dirty="0" err="1"/>
            <a:t>Thermo</a:t>
          </a:r>
          <a:r>
            <a:rPr lang="en-US" sz="1800"/>
            <a:t> Fisher Scientific</a:t>
          </a:r>
        </a:p>
      </dgm:t>
    </dgm:pt>
    <dgm:pt modelId="{E50577FB-E821-463D-895E-BE2247C63031}" type="parTrans" cxnId="{21037F87-7F25-46E2-B253-118CDC8E0EFD}">
      <dgm:prSet/>
      <dgm:spPr/>
      <dgm:t>
        <a:bodyPr/>
        <a:lstStyle/>
        <a:p>
          <a:endParaRPr lang="en-US" sz="1800"/>
        </a:p>
      </dgm:t>
    </dgm:pt>
    <dgm:pt modelId="{6B28C464-A9FD-47A2-AFD6-836F97F09946}" type="sibTrans" cxnId="{21037F87-7F25-46E2-B253-118CDC8E0EFD}">
      <dgm:prSet/>
      <dgm:spPr/>
      <dgm:t>
        <a:bodyPr/>
        <a:lstStyle/>
        <a:p>
          <a:endParaRPr lang="en-US" sz="1800"/>
        </a:p>
      </dgm:t>
    </dgm:pt>
    <dgm:pt modelId="{B4E84FFB-7530-43AB-84EF-A74BA2836A8C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400" dirty="0"/>
            <a:t>Sioux Eindhoven [Mechanical Design / Thermal Analysis]</a:t>
          </a:r>
        </a:p>
      </dgm:t>
    </dgm:pt>
    <dgm:pt modelId="{1543CC47-BE82-4C1C-A947-E80AA1A48C02}" type="parTrans" cxnId="{798EF795-5987-4833-99F4-6C1C1CCB2912}">
      <dgm:prSet/>
      <dgm:spPr/>
      <dgm:t>
        <a:bodyPr/>
        <a:lstStyle/>
        <a:p>
          <a:endParaRPr lang="en-US" sz="1800"/>
        </a:p>
      </dgm:t>
    </dgm:pt>
    <dgm:pt modelId="{E72807FE-9C4D-418A-B32F-0B7FEE622BCE}" type="sibTrans" cxnId="{798EF795-5987-4833-99F4-6C1C1CCB2912}">
      <dgm:prSet/>
      <dgm:spPr/>
      <dgm:t>
        <a:bodyPr/>
        <a:lstStyle/>
        <a:p>
          <a:endParaRPr lang="en-US" sz="1800"/>
        </a:p>
      </dgm:t>
    </dgm:pt>
    <dgm:pt modelId="{0E0D7BF8-9120-4BAF-A228-382E042DF8DB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400" dirty="0"/>
            <a:t>Sioux Erlangen (Germany) </a:t>
          </a:r>
        </a:p>
        <a:p>
          <a:r>
            <a:rPr lang="en-US" sz="1400" dirty="0"/>
            <a:t>[Electronics Development]</a:t>
          </a:r>
        </a:p>
      </dgm:t>
    </dgm:pt>
    <dgm:pt modelId="{CE0AC5FC-6FD7-4141-932E-800286331542}" type="sibTrans" cxnId="{77A45784-9CB1-4332-AB0E-A6F5C80FDAF7}">
      <dgm:prSet/>
      <dgm:spPr/>
      <dgm:t>
        <a:bodyPr/>
        <a:lstStyle/>
        <a:p>
          <a:endParaRPr lang="en-US" sz="1800"/>
        </a:p>
      </dgm:t>
    </dgm:pt>
    <dgm:pt modelId="{C6F969FF-2ED1-4CF1-8C75-11BBEA7C2050}" type="parTrans" cxnId="{77A45784-9CB1-4332-AB0E-A6F5C80FDAF7}">
      <dgm:prSet/>
      <dgm:spPr/>
      <dgm:t>
        <a:bodyPr/>
        <a:lstStyle/>
        <a:p>
          <a:endParaRPr lang="en-US" sz="1800"/>
        </a:p>
      </dgm:t>
    </dgm:pt>
    <dgm:pt modelId="{A0440405-15D0-491C-8DA0-37B6A436A1FB}" type="pres">
      <dgm:prSet presAssocID="{D4F64845-E6BF-4003-9126-DD77BCDDD25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5F5DA0-D02F-4D60-BB07-9C31350597BF}" type="pres">
      <dgm:prSet presAssocID="{24CB38D8-825E-43C8-9C1A-E0680BA1B9E2}" presName="hierRoot1" presStyleCnt="0"/>
      <dgm:spPr/>
    </dgm:pt>
    <dgm:pt modelId="{07D04E3F-C189-47F8-B00F-1CE7038D6184}" type="pres">
      <dgm:prSet presAssocID="{24CB38D8-825E-43C8-9C1A-E0680BA1B9E2}" presName="composite" presStyleCnt="0"/>
      <dgm:spPr/>
    </dgm:pt>
    <dgm:pt modelId="{B95C9890-0CD3-41BC-BCDD-4AEB056583DC}" type="pres">
      <dgm:prSet presAssocID="{24CB38D8-825E-43C8-9C1A-E0680BA1B9E2}" presName="background" presStyleLbl="node0" presStyleIdx="0" presStyleCnt="1"/>
      <dgm:spPr/>
    </dgm:pt>
    <dgm:pt modelId="{42E431E0-D6DF-4649-9398-3F47FF5BA5D4}" type="pres">
      <dgm:prSet presAssocID="{24CB38D8-825E-43C8-9C1A-E0680BA1B9E2}" presName="text" presStyleLbl="fgAcc0" presStyleIdx="0" presStyleCnt="1" custScaleY="50438">
        <dgm:presLayoutVars>
          <dgm:chPref val="3"/>
        </dgm:presLayoutVars>
      </dgm:prSet>
      <dgm:spPr/>
    </dgm:pt>
    <dgm:pt modelId="{A2BCB2E1-696D-4389-B5B3-06833C19A5F8}" type="pres">
      <dgm:prSet presAssocID="{24CB38D8-825E-43C8-9C1A-E0680BA1B9E2}" presName="hierChild2" presStyleCnt="0"/>
      <dgm:spPr/>
    </dgm:pt>
    <dgm:pt modelId="{DDDA83CC-7A93-4081-8C7D-2E8E1C8879E1}" type="pres">
      <dgm:prSet presAssocID="{C6F969FF-2ED1-4CF1-8C75-11BBEA7C2050}" presName="Name10" presStyleLbl="parChTrans1D2" presStyleIdx="0" presStyleCnt="2"/>
      <dgm:spPr/>
    </dgm:pt>
    <dgm:pt modelId="{D8DC065A-C51F-4864-853C-0E25EA3E3AD3}" type="pres">
      <dgm:prSet presAssocID="{0E0D7BF8-9120-4BAF-A228-382E042DF8DB}" presName="hierRoot2" presStyleCnt="0"/>
      <dgm:spPr/>
    </dgm:pt>
    <dgm:pt modelId="{69C48A24-F9F9-42FC-8673-DF1AC79BC8E4}" type="pres">
      <dgm:prSet presAssocID="{0E0D7BF8-9120-4BAF-A228-382E042DF8DB}" presName="composite2" presStyleCnt="0"/>
      <dgm:spPr/>
    </dgm:pt>
    <dgm:pt modelId="{D7BF4D12-4915-4544-9389-C4C22194A6C7}" type="pres">
      <dgm:prSet presAssocID="{0E0D7BF8-9120-4BAF-A228-382E042DF8DB}" presName="background2" presStyleLbl="node2" presStyleIdx="0" presStyleCnt="2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F15D03"/>
        </a:solidFill>
        <a:ln>
          <a:solidFill>
            <a:schemeClr val="accent1"/>
          </a:solidFill>
        </a:ln>
      </dgm:spPr>
    </dgm:pt>
    <dgm:pt modelId="{9D283E95-C037-4EDD-8652-05F58F7A1D59}" type="pres">
      <dgm:prSet presAssocID="{0E0D7BF8-9120-4BAF-A228-382E042DF8DB}" presName="text2" presStyleLbl="fgAcc2" presStyleIdx="0" presStyleCnt="2">
        <dgm:presLayoutVars>
          <dgm:chPref val="3"/>
        </dgm:presLayoutVars>
      </dgm:prSet>
      <dgm:spPr/>
    </dgm:pt>
    <dgm:pt modelId="{20C1566D-12E9-4519-85EC-8108708A7247}" type="pres">
      <dgm:prSet presAssocID="{0E0D7BF8-9120-4BAF-A228-382E042DF8DB}" presName="hierChild3" presStyleCnt="0"/>
      <dgm:spPr/>
    </dgm:pt>
    <dgm:pt modelId="{E81B04F3-1728-440B-A1FA-79DD21EF379F}" type="pres">
      <dgm:prSet presAssocID="{1543CC47-BE82-4C1C-A947-E80AA1A48C02}" presName="Name10" presStyleLbl="parChTrans1D2" presStyleIdx="1" presStyleCnt="2"/>
      <dgm:spPr/>
    </dgm:pt>
    <dgm:pt modelId="{DB0FF22A-2350-4B1A-9007-25DFE66DF6CC}" type="pres">
      <dgm:prSet presAssocID="{B4E84FFB-7530-43AB-84EF-A74BA2836A8C}" presName="hierRoot2" presStyleCnt="0"/>
      <dgm:spPr/>
    </dgm:pt>
    <dgm:pt modelId="{FC335595-43AF-4418-B35D-CCC755639DC7}" type="pres">
      <dgm:prSet presAssocID="{B4E84FFB-7530-43AB-84EF-A74BA2836A8C}" presName="composite2" presStyleCnt="0"/>
      <dgm:spPr/>
    </dgm:pt>
    <dgm:pt modelId="{3AB3E92E-57D7-413A-8E1C-EC2ED5B9E16C}" type="pres">
      <dgm:prSet presAssocID="{B4E84FFB-7530-43AB-84EF-A74BA2836A8C}" presName="background2" presStyleLbl="node2" presStyleIdx="1" presStyleCnt="2"/>
      <dgm:spPr>
        <a:solidFill>
          <a:schemeClr val="accent1"/>
        </a:solidFill>
        <a:ln>
          <a:solidFill>
            <a:schemeClr val="accent1"/>
          </a:solidFill>
        </a:ln>
      </dgm:spPr>
    </dgm:pt>
    <dgm:pt modelId="{40B5E6CF-7EA6-4230-9638-72F9455676FD}" type="pres">
      <dgm:prSet presAssocID="{B4E84FFB-7530-43AB-84EF-A74BA2836A8C}" presName="text2" presStyleLbl="fgAcc2" presStyleIdx="1" presStyleCnt="2">
        <dgm:presLayoutVars>
          <dgm:chPref val="3"/>
        </dgm:presLayoutVars>
      </dgm:prSet>
      <dgm:spPr/>
    </dgm:pt>
    <dgm:pt modelId="{30E5B60B-0B6C-42E8-9131-0C0CDC42E074}" type="pres">
      <dgm:prSet presAssocID="{B4E84FFB-7530-43AB-84EF-A74BA2836A8C}" presName="hierChild3" presStyleCnt="0"/>
      <dgm:spPr/>
    </dgm:pt>
  </dgm:ptLst>
  <dgm:cxnLst>
    <dgm:cxn modelId="{44F7C934-6DEC-48B5-8800-C49B01F36A24}" type="presOf" srcId="{1543CC47-BE82-4C1C-A947-E80AA1A48C02}" destId="{E81B04F3-1728-440B-A1FA-79DD21EF379F}" srcOrd="0" destOrd="0" presId="urn:microsoft.com/office/officeart/2005/8/layout/hierarchy1"/>
    <dgm:cxn modelId="{BD65964B-0F3E-4EDE-864B-423E047E8035}" type="presOf" srcId="{D4F64845-E6BF-4003-9126-DD77BCDDD257}" destId="{A0440405-15D0-491C-8DA0-37B6A436A1FB}" srcOrd="0" destOrd="0" presId="urn:microsoft.com/office/officeart/2005/8/layout/hierarchy1"/>
    <dgm:cxn modelId="{77A45784-9CB1-4332-AB0E-A6F5C80FDAF7}" srcId="{24CB38D8-825E-43C8-9C1A-E0680BA1B9E2}" destId="{0E0D7BF8-9120-4BAF-A228-382E042DF8DB}" srcOrd="0" destOrd="0" parTransId="{C6F969FF-2ED1-4CF1-8C75-11BBEA7C2050}" sibTransId="{CE0AC5FC-6FD7-4141-932E-800286331542}"/>
    <dgm:cxn modelId="{21037F87-7F25-46E2-B253-118CDC8E0EFD}" srcId="{D4F64845-E6BF-4003-9126-DD77BCDDD257}" destId="{24CB38D8-825E-43C8-9C1A-E0680BA1B9E2}" srcOrd="0" destOrd="0" parTransId="{E50577FB-E821-463D-895E-BE2247C63031}" sibTransId="{6B28C464-A9FD-47A2-AFD6-836F97F09946}"/>
    <dgm:cxn modelId="{980E668C-7AF7-4E83-909B-855BA61D6749}" type="presOf" srcId="{0E0D7BF8-9120-4BAF-A228-382E042DF8DB}" destId="{9D283E95-C037-4EDD-8652-05F58F7A1D59}" srcOrd="0" destOrd="0" presId="urn:microsoft.com/office/officeart/2005/8/layout/hierarchy1"/>
    <dgm:cxn modelId="{798EF795-5987-4833-99F4-6C1C1CCB2912}" srcId="{24CB38D8-825E-43C8-9C1A-E0680BA1B9E2}" destId="{B4E84FFB-7530-43AB-84EF-A74BA2836A8C}" srcOrd="1" destOrd="0" parTransId="{1543CC47-BE82-4C1C-A947-E80AA1A48C02}" sibTransId="{E72807FE-9C4D-418A-B32F-0B7FEE622BCE}"/>
    <dgm:cxn modelId="{A85DDC98-C184-4BDD-879E-7BAC0E3331EB}" type="presOf" srcId="{C6F969FF-2ED1-4CF1-8C75-11BBEA7C2050}" destId="{DDDA83CC-7A93-4081-8C7D-2E8E1C8879E1}" srcOrd="0" destOrd="0" presId="urn:microsoft.com/office/officeart/2005/8/layout/hierarchy1"/>
    <dgm:cxn modelId="{703F54D0-97D5-46F6-8CC3-A64E2DB946CA}" type="presOf" srcId="{24CB38D8-825E-43C8-9C1A-E0680BA1B9E2}" destId="{42E431E0-D6DF-4649-9398-3F47FF5BA5D4}" srcOrd="0" destOrd="0" presId="urn:microsoft.com/office/officeart/2005/8/layout/hierarchy1"/>
    <dgm:cxn modelId="{A132DDF9-D77E-44B1-AEC1-AEEB0511CAE8}" type="presOf" srcId="{B4E84FFB-7530-43AB-84EF-A74BA2836A8C}" destId="{40B5E6CF-7EA6-4230-9638-72F9455676FD}" srcOrd="0" destOrd="0" presId="urn:microsoft.com/office/officeart/2005/8/layout/hierarchy1"/>
    <dgm:cxn modelId="{04C4324E-1AEF-480F-9A7F-9B223D51BC1F}" type="presParOf" srcId="{A0440405-15D0-491C-8DA0-37B6A436A1FB}" destId="{425F5DA0-D02F-4D60-BB07-9C31350597BF}" srcOrd="0" destOrd="0" presId="urn:microsoft.com/office/officeart/2005/8/layout/hierarchy1"/>
    <dgm:cxn modelId="{F2AD37E8-9A1F-414E-9E7D-B29DCF872764}" type="presParOf" srcId="{425F5DA0-D02F-4D60-BB07-9C31350597BF}" destId="{07D04E3F-C189-47F8-B00F-1CE7038D6184}" srcOrd="0" destOrd="0" presId="urn:microsoft.com/office/officeart/2005/8/layout/hierarchy1"/>
    <dgm:cxn modelId="{CE0EEB4F-2A90-4498-9184-A1EF630075A7}" type="presParOf" srcId="{07D04E3F-C189-47F8-B00F-1CE7038D6184}" destId="{B95C9890-0CD3-41BC-BCDD-4AEB056583DC}" srcOrd="0" destOrd="0" presId="urn:microsoft.com/office/officeart/2005/8/layout/hierarchy1"/>
    <dgm:cxn modelId="{2DB5331E-114D-471A-8558-387E5095FCA8}" type="presParOf" srcId="{07D04E3F-C189-47F8-B00F-1CE7038D6184}" destId="{42E431E0-D6DF-4649-9398-3F47FF5BA5D4}" srcOrd="1" destOrd="0" presId="urn:microsoft.com/office/officeart/2005/8/layout/hierarchy1"/>
    <dgm:cxn modelId="{98083764-9694-4A85-84A7-25071399895D}" type="presParOf" srcId="{425F5DA0-D02F-4D60-BB07-9C31350597BF}" destId="{A2BCB2E1-696D-4389-B5B3-06833C19A5F8}" srcOrd="1" destOrd="0" presId="urn:microsoft.com/office/officeart/2005/8/layout/hierarchy1"/>
    <dgm:cxn modelId="{E1A48DFE-C5B1-40D4-AA9A-AA98BEB95A82}" type="presParOf" srcId="{A2BCB2E1-696D-4389-B5B3-06833C19A5F8}" destId="{DDDA83CC-7A93-4081-8C7D-2E8E1C8879E1}" srcOrd="0" destOrd="0" presId="urn:microsoft.com/office/officeart/2005/8/layout/hierarchy1"/>
    <dgm:cxn modelId="{92644F06-A743-4890-9D98-F6FD1A554114}" type="presParOf" srcId="{A2BCB2E1-696D-4389-B5B3-06833C19A5F8}" destId="{D8DC065A-C51F-4864-853C-0E25EA3E3AD3}" srcOrd="1" destOrd="0" presId="urn:microsoft.com/office/officeart/2005/8/layout/hierarchy1"/>
    <dgm:cxn modelId="{FA85C02F-6706-4F53-8074-5FE1121FFCAE}" type="presParOf" srcId="{D8DC065A-C51F-4864-853C-0E25EA3E3AD3}" destId="{69C48A24-F9F9-42FC-8673-DF1AC79BC8E4}" srcOrd="0" destOrd="0" presId="urn:microsoft.com/office/officeart/2005/8/layout/hierarchy1"/>
    <dgm:cxn modelId="{2D0CC603-29A4-425A-91D3-AEC47EC04947}" type="presParOf" srcId="{69C48A24-F9F9-42FC-8673-DF1AC79BC8E4}" destId="{D7BF4D12-4915-4544-9389-C4C22194A6C7}" srcOrd="0" destOrd="0" presId="urn:microsoft.com/office/officeart/2005/8/layout/hierarchy1"/>
    <dgm:cxn modelId="{FE454F9D-B88C-45EA-9265-B77F5CC1BDD3}" type="presParOf" srcId="{69C48A24-F9F9-42FC-8673-DF1AC79BC8E4}" destId="{9D283E95-C037-4EDD-8652-05F58F7A1D59}" srcOrd="1" destOrd="0" presId="urn:microsoft.com/office/officeart/2005/8/layout/hierarchy1"/>
    <dgm:cxn modelId="{2A7CF7D3-896C-48BA-B4BA-95DE2BEA6599}" type="presParOf" srcId="{D8DC065A-C51F-4864-853C-0E25EA3E3AD3}" destId="{20C1566D-12E9-4519-85EC-8108708A7247}" srcOrd="1" destOrd="0" presId="urn:microsoft.com/office/officeart/2005/8/layout/hierarchy1"/>
    <dgm:cxn modelId="{1148EE4C-EF6A-4AC1-B1D5-E1254D3068B6}" type="presParOf" srcId="{A2BCB2E1-696D-4389-B5B3-06833C19A5F8}" destId="{E81B04F3-1728-440B-A1FA-79DD21EF379F}" srcOrd="2" destOrd="0" presId="urn:microsoft.com/office/officeart/2005/8/layout/hierarchy1"/>
    <dgm:cxn modelId="{E292C759-87EC-453B-901F-139B9AECAF2C}" type="presParOf" srcId="{A2BCB2E1-696D-4389-B5B3-06833C19A5F8}" destId="{DB0FF22A-2350-4B1A-9007-25DFE66DF6CC}" srcOrd="3" destOrd="0" presId="urn:microsoft.com/office/officeart/2005/8/layout/hierarchy1"/>
    <dgm:cxn modelId="{AAA71BB5-F68A-4AF7-99A1-46994A4EBA2B}" type="presParOf" srcId="{DB0FF22A-2350-4B1A-9007-25DFE66DF6CC}" destId="{FC335595-43AF-4418-B35D-CCC755639DC7}" srcOrd="0" destOrd="0" presId="urn:microsoft.com/office/officeart/2005/8/layout/hierarchy1"/>
    <dgm:cxn modelId="{E5670AB8-36BD-48E9-A2C7-0CE2E7A7ED56}" type="presParOf" srcId="{FC335595-43AF-4418-B35D-CCC755639DC7}" destId="{3AB3E92E-57D7-413A-8E1C-EC2ED5B9E16C}" srcOrd="0" destOrd="0" presId="urn:microsoft.com/office/officeart/2005/8/layout/hierarchy1"/>
    <dgm:cxn modelId="{A55A74FE-8254-44F3-AFBF-23E13800285D}" type="presParOf" srcId="{FC335595-43AF-4418-B35D-CCC755639DC7}" destId="{40B5E6CF-7EA6-4230-9638-72F9455676FD}" srcOrd="1" destOrd="0" presId="urn:microsoft.com/office/officeart/2005/8/layout/hierarchy1"/>
    <dgm:cxn modelId="{80F8090D-ED84-4811-80BD-AB640CE692B3}" type="presParOf" srcId="{DB0FF22A-2350-4B1A-9007-25DFE66DF6CC}" destId="{30E5B60B-0B6C-42E8-9131-0C0CDC42E07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1FB4184-7B78-447F-ADE6-AF9913BAEA65}" type="doc">
      <dgm:prSet loTypeId="urn:microsoft.com/office/officeart/2005/8/layout/hierarchy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79BE301-999A-446C-8668-66C0B53E7C73}">
      <dgm:prSet phldrT="[Text]" custT="1"/>
      <dgm:spPr/>
      <dgm:t>
        <a:bodyPr/>
        <a:lstStyle/>
        <a:p>
          <a:r>
            <a:rPr lang="en-US" sz="1400" dirty="0"/>
            <a:t>TFS Sensor head</a:t>
          </a:r>
        </a:p>
      </dgm:t>
    </dgm:pt>
    <dgm:pt modelId="{024D4255-4AA5-42F2-A558-3175AFF630BD}" type="parTrans" cxnId="{5AC8E68B-6EA7-4906-8155-AE6DC9CB5F1D}">
      <dgm:prSet/>
      <dgm:spPr/>
      <dgm:t>
        <a:bodyPr/>
        <a:lstStyle/>
        <a:p>
          <a:endParaRPr lang="en-US" sz="1400"/>
        </a:p>
      </dgm:t>
    </dgm:pt>
    <dgm:pt modelId="{89FBD547-43E8-47CC-A695-79DF4258E3B5}" type="sibTrans" cxnId="{5AC8E68B-6EA7-4906-8155-AE6DC9CB5F1D}">
      <dgm:prSet/>
      <dgm:spPr/>
      <dgm:t>
        <a:bodyPr/>
        <a:lstStyle/>
        <a:p>
          <a:endParaRPr lang="en-US" sz="1400"/>
        </a:p>
      </dgm:t>
    </dgm:pt>
    <dgm:pt modelId="{BBD850AB-7831-429A-A9CB-8A6806345C65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400" dirty="0"/>
            <a:t>[S-WP]</a:t>
          </a:r>
        </a:p>
      </dgm:t>
    </dgm:pt>
    <dgm:pt modelId="{BFC2E00A-0CFA-47E4-86F7-56652247F77E}" type="parTrans" cxnId="{89CF4A8C-6323-4A08-9032-9EC1EED484EE}">
      <dgm:prSet/>
      <dgm:spPr/>
      <dgm:t>
        <a:bodyPr/>
        <a:lstStyle/>
        <a:p>
          <a:endParaRPr lang="en-US" sz="1400"/>
        </a:p>
      </dgm:t>
    </dgm:pt>
    <dgm:pt modelId="{759F9D12-04A4-4188-A736-4E0E3B539C1C}" type="sibTrans" cxnId="{89CF4A8C-6323-4A08-9032-9EC1EED484EE}">
      <dgm:prSet/>
      <dgm:spPr/>
      <dgm:t>
        <a:bodyPr/>
        <a:lstStyle/>
        <a:p>
          <a:endParaRPr lang="en-US" sz="1400"/>
        </a:p>
      </dgm:t>
    </dgm:pt>
    <dgm:pt modelId="{7E93A04B-FED0-4189-8365-1BE475BEB3D7}">
      <dgm:prSet phldrT="[Text]" custT="1"/>
      <dgm:spPr/>
      <dgm:t>
        <a:bodyPr/>
        <a:lstStyle/>
        <a:p>
          <a:r>
            <a:rPr lang="en-US" sz="1400"/>
            <a:t>[S-WP1]</a:t>
          </a:r>
        </a:p>
      </dgm:t>
    </dgm:pt>
    <dgm:pt modelId="{D5CC3932-9586-43C3-9D3F-487666EDBAF1}" type="parTrans" cxnId="{EE1E469F-DA3D-436C-BBF1-C8C94B15BF08}">
      <dgm:prSet/>
      <dgm:spPr/>
      <dgm:t>
        <a:bodyPr/>
        <a:lstStyle/>
        <a:p>
          <a:endParaRPr lang="en-US" sz="1400"/>
        </a:p>
      </dgm:t>
    </dgm:pt>
    <dgm:pt modelId="{CE515290-F080-4000-A071-A5E6F42A7C24}" type="sibTrans" cxnId="{EE1E469F-DA3D-436C-BBF1-C8C94B15BF08}">
      <dgm:prSet/>
      <dgm:spPr/>
      <dgm:t>
        <a:bodyPr/>
        <a:lstStyle/>
        <a:p>
          <a:endParaRPr lang="en-US" sz="1400"/>
        </a:p>
      </dgm:t>
    </dgm:pt>
    <dgm:pt modelId="{AD89EC3D-CC76-4E41-8C03-61F32FE5372D}">
      <dgm:prSet phldrT="[Text]" custT="1"/>
      <dgm:spPr/>
      <dgm:t>
        <a:bodyPr/>
        <a:lstStyle/>
        <a:p>
          <a:r>
            <a:rPr lang="en-US" sz="1400"/>
            <a:t>[S-WP3]</a:t>
          </a:r>
        </a:p>
      </dgm:t>
    </dgm:pt>
    <dgm:pt modelId="{5494A45B-E07F-4B61-97E3-BF9944A344E6}" type="parTrans" cxnId="{EE9E9F74-56BD-48AB-8FCC-8AC22D134EA0}">
      <dgm:prSet/>
      <dgm:spPr/>
      <dgm:t>
        <a:bodyPr/>
        <a:lstStyle/>
        <a:p>
          <a:endParaRPr lang="en-US" sz="1400"/>
        </a:p>
      </dgm:t>
    </dgm:pt>
    <dgm:pt modelId="{57B7DE24-A37C-4F00-BCBB-10BE91A5BE89}" type="sibTrans" cxnId="{EE9E9F74-56BD-48AB-8FCC-8AC22D134EA0}">
      <dgm:prSet/>
      <dgm:spPr/>
      <dgm:t>
        <a:bodyPr/>
        <a:lstStyle/>
        <a:p>
          <a:endParaRPr lang="en-US" sz="1400"/>
        </a:p>
      </dgm:t>
    </dgm:pt>
    <dgm:pt modelId="{DE09EAA6-D08B-48DF-B57D-429E21F06A34}">
      <dgm:prSet phldrT="[Text]" custT="1"/>
      <dgm:spPr/>
      <dgm:t>
        <a:bodyPr/>
        <a:lstStyle/>
        <a:p>
          <a:r>
            <a:rPr lang="en-US" sz="1400"/>
            <a:t>[S-WP2]</a:t>
          </a:r>
        </a:p>
      </dgm:t>
    </dgm:pt>
    <dgm:pt modelId="{9A8EFD3F-1708-41B2-9DAC-26EFFA769428}" type="parTrans" cxnId="{3B5B6CFC-518A-4DD9-998E-56064F5727DA}">
      <dgm:prSet/>
      <dgm:spPr/>
      <dgm:t>
        <a:bodyPr/>
        <a:lstStyle/>
        <a:p>
          <a:endParaRPr lang="en-US" sz="1400"/>
        </a:p>
      </dgm:t>
    </dgm:pt>
    <dgm:pt modelId="{F3A4D410-8C98-4E73-B2F1-11FF79081E18}" type="sibTrans" cxnId="{3B5B6CFC-518A-4DD9-998E-56064F5727DA}">
      <dgm:prSet/>
      <dgm:spPr/>
      <dgm:t>
        <a:bodyPr/>
        <a:lstStyle/>
        <a:p>
          <a:endParaRPr lang="en-US" sz="1400"/>
        </a:p>
      </dgm:t>
    </dgm:pt>
    <dgm:pt modelId="{40035AE4-9EF4-4D88-B520-C359338F2175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400"/>
            <a:t>[S-WP3.1]</a:t>
          </a:r>
        </a:p>
      </dgm:t>
    </dgm:pt>
    <dgm:pt modelId="{7DEDB31F-72E5-4EDE-B20C-A143C0890DB0}" type="parTrans" cxnId="{1D4FC974-513D-4E58-AB5E-94E2CA008B93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 sz="1400"/>
        </a:p>
      </dgm:t>
    </dgm:pt>
    <dgm:pt modelId="{D3621EC4-5D2A-4E63-9677-0E115CDB6C81}" type="sibTrans" cxnId="{1D4FC974-513D-4E58-AB5E-94E2CA008B93}">
      <dgm:prSet/>
      <dgm:spPr/>
      <dgm:t>
        <a:bodyPr/>
        <a:lstStyle/>
        <a:p>
          <a:endParaRPr lang="en-US" sz="1400"/>
        </a:p>
      </dgm:t>
    </dgm:pt>
    <dgm:pt modelId="{7F326702-5A8A-459E-A9D4-46DF41B72FC4}">
      <dgm:prSet phldrT="[Text]" custT="1"/>
      <dgm:spPr/>
      <dgm:t>
        <a:bodyPr/>
        <a:lstStyle/>
        <a:p>
          <a:r>
            <a:rPr lang="en-US" sz="1400"/>
            <a:t>[P2-WP]</a:t>
          </a:r>
        </a:p>
      </dgm:t>
    </dgm:pt>
    <dgm:pt modelId="{180F0087-C670-45E5-85AC-665D64897FBA}" type="parTrans" cxnId="{DE41AED0-EC6D-4892-AE03-5CE84B4F4C0A}">
      <dgm:prSet/>
      <dgm:spPr/>
      <dgm:t>
        <a:bodyPr/>
        <a:lstStyle/>
        <a:p>
          <a:endParaRPr lang="en-US" sz="1400"/>
        </a:p>
      </dgm:t>
    </dgm:pt>
    <dgm:pt modelId="{82C04277-6991-4ABF-8A0B-E71A72287E9C}" type="sibTrans" cxnId="{DE41AED0-EC6D-4892-AE03-5CE84B4F4C0A}">
      <dgm:prSet/>
      <dgm:spPr/>
      <dgm:t>
        <a:bodyPr/>
        <a:lstStyle/>
        <a:p>
          <a:endParaRPr lang="en-US" sz="1400"/>
        </a:p>
      </dgm:t>
    </dgm:pt>
    <dgm:pt modelId="{6BA271DC-3709-44C3-8DCE-F338AD71E0BA}">
      <dgm:prSet phldrT="[Text]" custT="1"/>
      <dgm:spPr>
        <a:ln>
          <a:solidFill>
            <a:schemeClr val="accent1"/>
          </a:solidFill>
        </a:ln>
      </dgm:spPr>
      <dgm:t>
        <a:bodyPr/>
        <a:lstStyle/>
        <a:p>
          <a:r>
            <a:rPr lang="en-US" sz="1400"/>
            <a:t>[S-WP3.2]</a:t>
          </a:r>
        </a:p>
      </dgm:t>
    </dgm:pt>
    <dgm:pt modelId="{76D97271-A035-40EC-A425-1175C332C4B3}" type="parTrans" cxnId="{333E804A-DC99-42AF-BA11-024CDADD3223}">
      <dgm:prSet/>
      <dgm:spPr/>
      <dgm:t>
        <a:bodyPr/>
        <a:lstStyle/>
        <a:p>
          <a:endParaRPr lang="en-US" sz="1400"/>
        </a:p>
      </dgm:t>
    </dgm:pt>
    <dgm:pt modelId="{7CEAE004-4D6C-4A9B-8C74-AA2F3B9BBF71}" type="sibTrans" cxnId="{333E804A-DC99-42AF-BA11-024CDADD3223}">
      <dgm:prSet/>
      <dgm:spPr/>
      <dgm:t>
        <a:bodyPr/>
        <a:lstStyle/>
        <a:p>
          <a:endParaRPr lang="en-US" sz="1400"/>
        </a:p>
      </dgm:t>
    </dgm:pt>
    <dgm:pt modelId="{C8CD4271-44DB-4704-9B20-F0D88AE0B137}">
      <dgm:prSet phldrT="[Text]" custT="1"/>
      <dgm:spPr>
        <a:ln>
          <a:solidFill>
            <a:schemeClr val="accent3"/>
          </a:solidFill>
        </a:ln>
      </dgm:spPr>
      <dgm:t>
        <a:bodyPr/>
        <a:lstStyle/>
        <a:p>
          <a:r>
            <a:rPr lang="en-US" sz="1400"/>
            <a:t>[O-WP]</a:t>
          </a:r>
        </a:p>
      </dgm:t>
    </dgm:pt>
    <dgm:pt modelId="{3624593E-E9CC-4993-9C88-C3054B644C43}" type="parTrans" cxnId="{28B7C8D5-AE0E-488C-AE18-17E60706A210}">
      <dgm:prSet/>
      <dgm:spPr>
        <a:ln>
          <a:solidFill>
            <a:schemeClr val="accent1"/>
          </a:solidFill>
        </a:ln>
      </dgm:spPr>
      <dgm:t>
        <a:bodyPr/>
        <a:lstStyle/>
        <a:p>
          <a:endParaRPr lang="en-US" sz="1400"/>
        </a:p>
      </dgm:t>
    </dgm:pt>
    <dgm:pt modelId="{01F41842-6F5C-4EF4-AA9B-410EC58699C2}" type="sibTrans" cxnId="{28B7C8D5-AE0E-488C-AE18-17E60706A210}">
      <dgm:prSet/>
      <dgm:spPr/>
      <dgm:t>
        <a:bodyPr/>
        <a:lstStyle/>
        <a:p>
          <a:endParaRPr lang="en-US" sz="1400"/>
        </a:p>
      </dgm:t>
    </dgm:pt>
    <dgm:pt modelId="{743CD038-956D-4663-96FF-C39174E7CED9}" type="pres">
      <dgm:prSet presAssocID="{E1FB4184-7B78-447F-ADE6-AF9913BAEA6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5080CE6-9E87-4E4B-A8F2-02D5AE7473B2}" type="pres">
      <dgm:prSet presAssocID="{B79BE301-999A-446C-8668-66C0B53E7C73}" presName="hierRoot1" presStyleCnt="0"/>
      <dgm:spPr/>
    </dgm:pt>
    <dgm:pt modelId="{96FC135C-FC7C-464E-9341-D7F37895C026}" type="pres">
      <dgm:prSet presAssocID="{B79BE301-999A-446C-8668-66C0B53E7C73}" presName="composite" presStyleCnt="0"/>
      <dgm:spPr/>
    </dgm:pt>
    <dgm:pt modelId="{7EFC9D72-2A73-4977-9511-A5637E39F567}" type="pres">
      <dgm:prSet presAssocID="{B79BE301-999A-446C-8668-66C0B53E7C73}" presName="background" presStyleLbl="node0" presStyleIdx="0" presStyleCnt="1"/>
      <dgm:spPr/>
    </dgm:pt>
    <dgm:pt modelId="{BB6E73B1-CB65-451D-A8F1-84195A2FAC15}" type="pres">
      <dgm:prSet presAssocID="{B79BE301-999A-446C-8668-66C0B53E7C73}" presName="text" presStyleLbl="fgAcc0" presStyleIdx="0" presStyleCnt="1" custScaleX="146096" custScaleY="52934">
        <dgm:presLayoutVars>
          <dgm:chPref val="3"/>
        </dgm:presLayoutVars>
      </dgm:prSet>
      <dgm:spPr/>
    </dgm:pt>
    <dgm:pt modelId="{49BDD7F6-CBA4-45C9-9278-8E3781F08ED9}" type="pres">
      <dgm:prSet presAssocID="{B79BE301-999A-446C-8668-66C0B53E7C73}" presName="hierChild2" presStyleCnt="0"/>
      <dgm:spPr/>
    </dgm:pt>
    <dgm:pt modelId="{4A68CA3E-7A81-46CC-896E-DDE17FBCFC24}" type="pres">
      <dgm:prSet presAssocID="{BFC2E00A-0CFA-47E4-86F7-56652247F77E}" presName="Name10" presStyleLbl="parChTrans1D2" presStyleIdx="0" presStyleCnt="2"/>
      <dgm:spPr/>
    </dgm:pt>
    <dgm:pt modelId="{17167829-CF94-4307-B22B-995FAC57FEBA}" type="pres">
      <dgm:prSet presAssocID="{BBD850AB-7831-429A-A9CB-8A6806345C65}" presName="hierRoot2" presStyleCnt="0"/>
      <dgm:spPr/>
    </dgm:pt>
    <dgm:pt modelId="{E4896D7E-3508-459B-85D7-5F61803E4C32}" type="pres">
      <dgm:prSet presAssocID="{BBD850AB-7831-429A-A9CB-8A6806345C65}" presName="composite2" presStyleCnt="0"/>
      <dgm:spPr/>
    </dgm:pt>
    <dgm:pt modelId="{8968AC92-A81F-4FBF-886A-EBF42691F4E5}" type="pres">
      <dgm:prSet presAssocID="{BBD850AB-7831-429A-A9CB-8A6806345C65}" presName="background2" presStyleLbl="node2" presStyleIdx="0" presStyleCnt="2"/>
      <dgm:spPr>
        <a:solidFill>
          <a:schemeClr val="accent1"/>
        </a:solidFill>
      </dgm:spPr>
    </dgm:pt>
    <dgm:pt modelId="{A7618A7F-4067-4EAA-A026-8CC86EDD55CD}" type="pres">
      <dgm:prSet presAssocID="{BBD850AB-7831-429A-A9CB-8A6806345C65}" presName="text2" presStyleLbl="fgAcc2" presStyleIdx="0" presStyleCnt="2">
        <dgm:presLayoutVars>
          <dgm:chPref val="3"/>
        </dgm:presLayoutVars>
      </dgm:prSet>
      <dgm:spPr/>
    </dgm:pt>
    <dgm:pt modelId="{D1BA5BCB-4ECA-461D-BAA7-33D946CEAE23}" type="pres">
      <dgm:prSet presAssocID="{BBD850AB-7831-429A-A9CB-8A6806345C65}" presName="hierChild3" presStyleCnt="0"/>
      <dgm:spPr/>
    </dgm:pt>
    <dgm:pt modelId="{19956D68-33CC-4A9F-9D5B-F45DD5028DFB}" type="pres">
      <dgm:prSet presAssocID="{D5CC3932-9586-43C3-9D3F-487666EDBAF1}" presName="Name17" presStyleLbl="parChTrans1D3" presStyleIdx="0" presStyleCnt="3"/>
      <dgm:spPr/>
    </dgm:pt>
    <dgm:pt modelId="{1FD471C9-579E-40A3-837F-B3D0FED67E8D}" type="pres">
      <dgm:prSet presAssocID="{7E93A04B-FED0-4189-8365-1BE475BEB3D7}" presName="hierRoot3" presStyleCnt="0"/>
      <dgm:spPr/>
    </dgm:pt>
    <dgm:pt modelId="{BA2AE274-1B37-4763-9FF0-562FBB08907F}" type="pres">
      <dgm:prSet presAssocID="{7E93A04B-FED0-4189-8365-1BE475BEB3D7}" presName="composite3" presStyleCnt="0"/>
      <dgm:spPr/>
    </dgm:pt>
    <dgm:pt modelId="{52F364C9-FEF0-4C93-B6B0-61EE2197B04F}" type="pres">
      <dgm:prSet presAssocID="{7E93A04B-FED0-4189-8365-1BE475BEB3D7}" presName="background3" presStyleLbl="node3" presStyleIdx="0" presStyleCnt="3"/>
      <dgm:spPr/>
    </dgm:pt>
    <dgm:pt modelId="{0B8C97CA-5681-431F-A488-7DB5D5A1B745}" type="pres">
      <dgm:prSet presAssocID="{7E93A04B-FED0-4189-8365-1BE475BEB3D7}" presName="text3" presStyleLbl="fgAcc3" presStyleIdx="0" presStyleCnt="3">
        <dgm:presLayoutVars>
          <dgm:chPref val="3"/>
        </dgm:presLayoutVars>
      </dgm:prSet>
      <dgm:spPr/>
    </dgm:pt>
    <dgm:pt modelId="{3518D35A-D152-4D1C-AA3A-8E15E18F9D6C}" type="pres">
      <dgm:prSet presAssocID="{7E93A04B-FED0-4189-8365-1BE475BEB3D7}" presName="hierChild4" presStyleCnt="0"/>
      <dgm:spPr/>
    </dgm:pt>
    <dgm:pt modelId="{536B9916-F692-4B30-B914-729FA90B41A5}" type="pres">
      <dgm:prSet presAssocID="{9A8EFD3F-1708-41B2-9DAC-26EFFA769428}" presName="Name17" presStyleLbl="parChTrans1D3" presStyleIdx="1" presStyleCnt="3"/>
      <dgm:spPr/>
    </dgm:pt>
    <dgm:pt modelId="{FDE71660-B7F7-4685-A51A-ED9CDE1F7F0F}" type="pres">
      <dgm:prSet presAssocID="{DE09EAA6-D08B-48DF-B57D-429E21F06A34}" presName="hierRoot3" presStyleCnt="0"/>
      <dgm:spPr/>
    </dgm:pt>
    <dgm:pt modelId="{5FC26BD0-3585-47BF-A367-C25ED43864ED}" type="pres">
      <dgm:prSet presAssocID="{DE09EAA6-D08B-48DF-B57D-429E21F06A34}" presName="composite3" presStyleCnt="0"/>
      <dgm:spPr/>
    </dgm:pt>
    <dgm:pt modelId="{20E343A7-28AD-4636-B933-F7D3EF402314}" type="pres">
      <dgm:prSet presAssocID="{DE09EAA6-D08B-48DF-B57D-429E21F06A34}" presName="background3" presStyleLbl="node3" presStyleIdx="1" presStyleCnt="3"/>
      <dgm:spPr/>
    </dgm:pt>
    <dgm:pt modelId="{89AE2736-DBA7-4DE2-866D-A018FABF44F5}" type="pres">
      <dgm:prSet presAssocID="{DE09EAA6-D08B-48DF-B57D-429E21F06A34}" presName="text3" presStyleLbl="fgAcc3" presStyleIdx="1" presStyleCnt="3">
        <dgm:presLayoutVars>
          <dgm:chPref val="3"/>
        </dgm:presLayoutVars>
      </dgm:prSet>
      <dgm:spPr/>
    </dgm:pt>
    <dgm:pt modelId="{75BC7392-389D-4179-8208-44F4F0F7AA64}" type="pres">
      <dgm:prSet presAssocID="{DE09EAA6-D08B-48DF-B57D-429E21F06A34}" presName="hierChild4" presStyleCnt="0"/>
      <dgm:spPr/>
    </dgm:pt>
    <dgm:pt modelId="{601C9F3F-EDA8-4D98-8CFB-E7E1999B2B07}" type="pres">
      <dgm:prSet presAssocID="{5494A45B-E07F-4B61-97E3-BF9944A344E6}" presName="Name17" presStyleLbl="parChTrans1D3" presStyleIdx="2" presStyleCnt="3"/>
      <dgm:spPr/>
    </dgm:pt>
    <dgm:pt modelId="{6B24294C-802A-4626-BF54-04398219C4EA}" type="pres">
      <dgm:prSet presAssocID="{AD89EC3D-CC76-4E41-8C03-61F32FE5372D}" presName="hierRoot3" presStyleCnt="0"/>
      <dgm:spPr/>
    </dgm:pt>
    <dgm:pt modelId="{5E0E169A-C9E3-4C21-9307-A13FCB118B81}" type="pres">
      <dgm:prSet presAssocID="{AD89EC3D-CC76-4E41-8C03-61F32FE5372D}" presName="composite3" presStyleCnt="0"/>
      <dgm:spPr/>
    </dgm:pt>
    <dgm:pt modelId="{8132B87B-DA8E-4474-9914-00020270F0E4}" type="pres">
      <dgm:prSet presAssocID="{AD89EC3D-CC76-4E41-8C03-61F32FE5372D}" presName="background3" presStyleLbl="node3" presStyleIdx="2" presStyleCnt="3"/>
      <dgm:spPr/>
    </dgm:pt>
    <dgm:pt modelId="{A85B7725-86B0-4A0C-9D12-DC9374FE3877}" type="pres">
      <dgm:prSet presAssocID="{AD89EC3D-CC76-4E41-8C03-61F32FE5372D}" presName="text3" presStyleLbl="fgAcc3" presStyleIdx="2" presStyleCnt="3">
        <dgm:presLayoutVars>
          <dgm:chPref val="3"/>
        </dgm:presLayoutVars>
      </dgm:prSet>
      <dgm:spPr/>
    </dgm:pt>
    <dgm:pt modelId="{FAD82E86-C192-46F0-A503-A7507D267B3D}" type="pres">
      <dgm:prSet presAssocID="{AD89EC3D-CC76-4E41-8C03-61F32FE5372D}" presName="hierChild4" presStyleCnt="0"/>
      <dgm:spPr/>
    </dgm:pt>
    <dgm:pt modelId="{0CC6FAA2-2808-4455-B139-7A8BA56E2319}" type="pres">
      <dgm:prSet presAssocID="{7DEDB31F-72E5-4EDE-B20C-A143C0890DB0}" presName="Name23" presStyleLbl="parChTrans1D4" presStyleIdx="0" presStyleCnt="3"/>
      <dgm:spPr/>
    </dgm:pt>
    <dgm:pt modelId="{2D46151E-B435-4A3D-A6FF-7D625478A2EA}" type="pres">
      <dgm:prSet presAssocID="{40035AE4-9EF4-4D88-B520-C359338F2175}" presName="hierRoot4" presStyleCnt="0"/>
      <dgm:spPr/>
    </dgm:pt>
    <dgm:pt modelId="{47D6AC7B-F0F4-4612-A7FE-DBFECA32BBC6}" type="pres">
      <dgm:prSet presAssocID="{40035AE4-9EF4-4D88-B520-C359338F2175}" presName="composite4" presStyleCnt="0"/>
      <dgm:spPr/>
    </dgm:pt>
    <dgm:pt modelId="{7922CD79-27EB-40EF-8A0F-9191195965E0}" type="pres">
      <dgm:prSet presAssocID="{40035AE4-9EF4-4D88-B520-C359338F2175}" presName="background4" presStyleLbl="node4" presStyleIdx="0" presStyleCnt="3"/>
      <dgm:spPr>
        <a:solidFill>
          <a:schemeClr val="accent1"/>
        </a:solidFill>
      </dgm:spPr>
    </dgm:pt>
    <dgm:pt modelId="{631FC335-1BB6-4A03-8DF4-1B5FF440D221}" type="pres">
      <dgm:prSet presAssocID="{40035AE4-9EF4-4D88-B520-C359338F2175}" presName="text4" presStyleLbl="fgAcc4" presStyleIdx="0" presStyleCnt="3">
        <dgm:presLayoutVars>
          <dgm:chPref val="3"/>
        </dgm:presLayoutVars>
      </dgm:prSet>
      <dgm:spPr/>
    </dgm:pt>
    <dgm:pt modelId="{C79E22F6-7965-4978-AAAC-7DF50CA85232}" type="pres">
      <dgm:prSet presAssocID="{40035AE4-9EF4-4D88-B520-C359338F2175}" presName="hierChild5" presStyleCnt="0"/>
      <dgm:spPr/>
    </dgm:pt>
    <dgm:pt modelId="{AEABD80D-8034-4B17-B022-C295CB2573D0}" type="pres">
      <dgm:prSet presAssocID="{76D97271-A035-40EC-A425-1175C332C4B3}" presName="Name23" presStyleLbl="parChTrans1D4" presStyleIdx="1" presStyleCnt="3"/>
      <dgm:spPr/>
    </dgm:pt>
    <dgm:pt modelId="{73F6D4C1-1C90-4CA0-B52F-405F669CEC24}" type="pres">
      <dgm:prSet presAssocID="{6BA271DC-3709-44C3-8DCE-F338AD71E0BA}" presName="hierRoot4" presStyleCnt="0"/>
      <dgm:spPr/>
    </dgm:pt>
    <dgm:pt modelId="{4BA25693-9337-4076-BB9E-67731D39FE55}" type="pres">
      <dgm:prSet presAssocID="{6BA271DC-3709-44C3-8DCE-F338AD71E0BA}" presName="composite4" presStyleCnt="0"/>
      <dgm:spPr/>
    </dgm:pt>
    <dgm:pt modelId="{1C1D5978-74BE-4EFE-98E8-0730B4B18C26}" type="pres">
      <dgm:prSet presAssocID="{6BA271DC-3709-44C3-8DCE-F338AD71E0BA}" presName="background4" presStyleLbl="node4" presStyleIdx="1" presStyleCnt="3"/>
      <dgm:spPr>
        <a:solidFill>
          <a:schemeClr val="accent1"/>
        </a:solidFill>
      </dgm:spPr>
    </dgm:pt>
    <dgm:pt modelId="{7087B594-E473-4CC5-A7ED-6C28DE28D8A2}" type="pres">
      <dgm:prSet presAssocID="{6BA271DC-3709-44C3-8DCE-F338AD71E0BA}" presName="text4" presStyleLbl="fgAcc4" presStyleIdx="1" presStyleCnt="3">
        <dgm:presLayoutVars>
          <dgm:chPref val="3"/>
        </dgm:presLayoutVars>
      </dgm:prSet>
      <dgm:spPr/>
    </dgm:pt>
    <dgm:pt modelId="{1F2F112E-B1D6-4AE1-8ADE-5D3ED16E3EE6}" type="pres">
      <dgm:prSet presAssocID="{6BA271DC-3709-44C3-8DCE-F338AD71E0BA}" presName="hierChild5" presStyleCnt="0"/>
      <dgm:spPr/>
    </dgm:pt>
    <dgm:pt modelId="{C89BBA54-156D-4229-9FC3-91CB2E3ABA9F}" type="pres">
      <dgm:prSet presAssocID="{3624593E-E9CC-4993-9C88-C3054B644C43}" presName="Name23" presStyleLbl="parChTrans1D4" presStyleIdx="2" presStyleCnt="3"/>
      <dgm:spPr/>
    </dgm:pt>
    <dgm:pt modelId="{5D78EAF1-4C13-4E07-8068-0CA5A3F236CD}" type="pres">
      <dgm:prSet presAssocID="{C8CD4271-44DB-4704-9B20-F0D88AE0B137}" presName="hierRoot4" presStyleCnt="0"/>
      <dgm:spPr/>
    </dgm:pt>
    <dgm:pt modelId="{013E80F6-8FCC-405B-8AD6-92B8C8A4E8F4}" type="pres">
      <dgm:prSet presAssocID="{C8CD4271-44DB-4704-9B20-F0D88AE0B137}" presName="composite4" presStyleCnt="0"/>
      <dgm:spPr/>
    </dgm:pt>
    <dgm:pt modelId="{E89CBBA2-21BA-4F4D-8A72-93290C2EDB75}" type="pres">
      <dgm:prSet presAssocID="{C8CD4271-44DB-4704-9B20-F0D88AE0B137}" presName="background4" presStyleLbl="node4" presStyleIdx="2" presStyleCnt="3"/>
      <dgm:spPr>
        <a:solidFill>
          <a:schemeClr val="accent3"/>
        </a:solidFill>
      </dgm:spPr>
    </dgm:pt>
    <dgm:pt modelId="{7ECF7AFC-EA16-4D31-BAAE-F728DF8768B7}" type="pres">
      <dgm:prSet presAssocID="{C8CD4271-44DB-4704-9B20-F0D88AE0B137}" presName="text4" presStyleLbl="fgAcc4" presStyleIdx="2" presStyleCnt="3">
        <dgm:presLayoutVars>
          <dgm:chPref val="3"/>
        </dgm:presLayoutVars>
      </dgm:prSet>
      <dgm:spPr/>
    </dgm:pt>
    <dgm:pt modelId="{F586639D-757A-4DDA-AFBE-BFA088202C42}" type="pres">
      <dgm:prSet presAssocID="{C8CD4271-44DB-4704-9B20-F0D88AE0B137}" presName="hierChild5" presStyleCnt="0"/>
      <dgm:spPr/>
    </dgm:pt>
    <dgm:pt modelId="{760D14E6-EB2F-4170-9879-4086B935EECF}" type="pres">
      <dgm:prSet presAssocID="{180F0087-C670-45E5-85AC-665D64897FBA}" presName="Name10" presStyleLbl="parChTrans1D2" presStyleIdx="1" presStyleCnt="2"/>
      <dgm:spPr/>
    </dgm:pt>
    <dgm:pt modelId="{67D1097E-4C19-4E12-8322-B9136B4609F9}" type="pres">
      <dgm:prSet presAssocID="{7F326702-5A8A-459E-A9D4-46DF41B72FC4}" presName="hierRoot2" presStyleCnt="0"/>
      <dgm:spPr/>
    </dgm:pt>
    <dgm:pt modelId="{49049831-DCE9-4397-A6DA-97B664B751A1}" type="pres">
      <dgm:prSet presAssocID="{7F326702-5A8A-459E-A9D4-46DF41B72FC4}" presName="composite2" presStyleCnt="0"/>
      <dgm:spPr/>
    </dgm:pt>
    <dgm:pt modelId="{4A53B5E7-63A7-4218-9EE3-D77BE5415CE0}" type="pres">
      <dgm:prSet presAssocID="{7F326702-5A8A-459E-A9D4-46DF41B72FC4}" presName="background2" presStyleLbl="node2" presStyleIdx="1" presStyleCnt="2"/>
      <dgm:spPr/>
    </dgm:pt>
    <dgm:pt modelId="{A9DA4F64-9D9D-49A8-A56B-E15DA1B209B4}" type="pres">
      <dgm:prSet presAssocID="{7F326702-5A8A-459E-A9D4-46DF41B72FC4}" presName="text2" presStyleLbl="fgAcc2" presStyleIdx="1" presStyleCnt="2">
        <dgm:presLayoutVars>
          <dgm:chPref val="3"/>
        </dgm:presLayoutVars>
      </dgm:prSet>
      <dgm:spPr/>
    </dgm:pt>
    <dgm:pt modelId="{E8EBA25D-142E-46DD-8D21-AE397C052637}" type="pres">
      <dgm:prSet presAssocID="{7F326702-5A8A-459E-A9D4-46DF41B72FC4}" presName="hierChild3" presStyleCnt="0"/>
      <dgm:spPr/>
    </dgm:pt>
  </dgm:ptLst>
  <dgm:cxnLst>
    <dgm:cxn modelId="{D5B81F2B-7B20-4711-BCD0-C4B884FD0E36}" type="presOf" srcId="{D5CC3932-9586-43C3-9D3F-487666EDBAF1}" destId="{19956D68-33CC-4A9F-9D5B-F45DD5028DFB}" srcOrd="0" destOrd="0" presId="urn:microsoft.com/office/officeart/2005/8/layout/hierarchy1"/>
    <dgm:cxn modelId="{530AEC2D-82A0-4321-B502-CDE82D2F0360}" type="presOf" srcId="{C8CD4271-44DB-4704-9B20-F0D88AE0B137}" destId="{7ECF7AFC-EA16-4D31-BAAE-F728DF8768B7}" srcOrd="0" destOrd="0" presId="urn:microsoft.com/office/officeart/2005/8/layout/hierarchy1"/>
    <dgm:cxn modelId="{0F8EEC35-10BE-4845-8311-BD0758DC8A50}" type="presOf" srcId="{B79BE301-999A-446C-8668-66C0B53E7C73}" destId="{BB6E73B1-CB65-451D-A8F1-84195A2FAC15}" srcOrd="0" destOrd="0" presId="urn:microsoft.com/office/officeart/2005/8/layout/hierarchy1"/>
    <dgm:cxn modelId="{22F92E3D-8510-4E1B-A747-8D63A98BBF25}" type="presOf" srcId="{7F326702-5A8A-459E-A9D4-46DF41B72FC4}" destId="{A9DA4F64-9D9D-49A8-A56B-E15DA1B209B4}" srcOrd="0" destOrd="0" presId="urn:microsoft.com/office/officeart/2005/8/layout/hierarchy1"/>
    <dgm:cxn modelId="{CB525040-57B6-4328-AD19-A7452B1B2A34}" type="presOf" srcId="{40035AE4-9EF4-4D88-B520-C359338F2175}" destId="{631FC335-1BB6-4A03-8DF4-1B5FF440D221}" srcOrd="0" destOrd="0" presId="urn:microsoft.com/office/officeart/2005/8/layout/hierarchy1"/>
    <dgm:cxn modelId="{4FBA9A65-DB79-4821-BA19-BF97657C2993}" type="presOf" srcId="{180F0087-C670-45E5-85AC-665D64897FBA}" destId="{760D14E6-EB2F-4170-9879-4086B935EECF}" srcOrd="0" destOrd="0" presId="urn:microsoft.com/office/officeart/2005/8/layout/hierarchy1"/>
    <dgm:cxn modelId="{8571D069-FBDE-43DF-B038-527C1AB95624}" type="presOf" srcId="{BFC2E00A-0CFA-47E4-86F7-56652247F77E}" destId="{4A68CA3E-7A81-46CC-896E-DDE17FBCFC24}" srcOrd="0" destOrd="0" presId="urn:microsoft.com/office/officeart/2005/8/layout/hierarchy1"/>
    <dgm:cxn modelId="{333E804A-DC99-42AF-BA11-024CDADD3223}" srcId="{AD89EC3D-CC76-4E41-8C03-61F32FE5372D}" destId="{6BA271DC-3709-44C3-8DCE-F338AD71E0BA}" srcOrd="1" destOrd="0" parTransId="{76D97271-A035-40EC-A425-1175C332C4B3}" sibTransId="{7CEAE004-4D6C-4A9B-8C74-AA2F3B9BBF71}"/>
    <dgm:cxn modelId="{D646AE4B-A6FD-4F54-887E-7A9D05A57E58}" type="presOf" srcId="{DE09EAA6-D08B-48DF-B57D-429E21F06A34}" destId="{89AE2736-DBA7-4DE2-866D-A018FABF44F5}" srcOrd="0" destOrd="0" presId="urn:microsoft.com/office/officeart/2005/8/layout/hierarchy1"/>
    <dgm:cxn modelId="{EE9E9F74-56BD-48AB-8FCC-8AC22D134EA0}" srcId="{BBD850AB-7831-429A-A9CB-8A6806345C65}" destId="{AD89EC3D-CC76-4E41-8C03-61F32FE5372D}" srcOrd="2" destOrd="0" parTransId="{5494A45B-E07F-4B61-97E3-BF9944A344E6}" sibTransId="{57B7DE24-A37C-4F00-BCBB-10BE91A5BE89}"/>
    <dgm:cxn modelId="{1D4FC974-513D-4E58-AB5E-94E2CA008B93}" srcId="{AD89EC3D-CC76-4E41-8C03-61F32FE5372D}" destId="{40035AE4-9EF4-4D88-B520-C359338F2175}" srcOrd="0" destOrd="0" parTransId="{7DEDB31F-72E5-4EDE-B20C-A143C0890DB0}" sibTransId="{D3621EC4-5D2A-4E63-9677-0E115CDB6C81}"/>
    <dgm:cxn modelId="{D2B0B757-C1DC-4D07-BDAA-522852F984B2}" type="presOf" srcId="{3624593E-E9CC-4993-9C88-C3054B644C43}" destId="{C89BBA54-156D-4229-9FC3-91CB2E3ABA9F}" srcOrd="0" destOrd="0" presId="urn:microsoft.com/office/officeart/2005/8/layout/hierarchy1"/>
    <dgm:cxn modelId="{C37CE558-E145-4E20-B04B-C9AF77004A6D}" type="presOf" srcId="{6BA271DC-3709-44C3-8DCE-F338AD71E0BA}" destId="{7087B594-E473-4CC5-A7ED-6C28DE28D8A2}" srcOrd="0" destOrd="0" presId="urn:microsoft.com/office/officeart/2005/8/layout/hierarchy1"/>
    <dgm:cxn modelId="{1A92B48B-DE67-4566-B26F-0DEE9A1BFFFA}" type="presOf" srcId="{E1FB4184-7B78-447F-ADE6-AF9913BAEA65}" destId="{743CD038-956D-4663-96FF-C39174E7CED9}" srcOrd="0" destOrd="0" presId="urn:microsoft.com/office/officeart/2005/8/layout/hierarchy1"/>
    <dgm:cxn modelId="{5AC8E68B-6EA7-4906-8155-AE6DC9CB5F1D}" srcId="{E1FB4184-7B78-447F-ADE6-AF9913BAEA65}" destId="{B79BE301-999A-446C-8668-66C0B53E7C73}" srcOrd="0" destOrd="0" parTransId="{024D4255-4AA5-42F2-A558-3175AFF630BD}" sibTransId="{89FBD547-43E8-47CC-A695-79DF4258E3B5}"/>
    <dgm:cxn modelId="{89CF4A8C-6323-4A08-9032-9EC1EED484EE}" srcId="{B79BE301-999A-446C-8668-66C0B53E7C73}" destId="{BBD850AB-7831-429A-A9CB-8A6806345C65}" srcOrd="0" destOrd="0" parTransId="{BFC2E00A-0CFA-47E4-86F7-56652247F77E}" sibTransId="{759F9D12-04A4-4188-A736-4E0E3B539C1C}"/>
    <dgm:cxn modelId="{8F7B2090-065B-4359-A313-C9A4978B95A5}" type="presOf" srcId="{AD89EC3D-CC76-4E41-8C03-61F32FE5372D}" destId="{A85B7725-86B0-4A0C-9D12-DC9374FE3877}" srcOrd="0" destOrd="0" presId="urn:microsoft.com/office/officeart/2005/8/layout/hierarchy1"/>
    <dgm:cxn modelId="{ACA49390-BAE2-4974-B045-234531C3D9F0}" type="presOf" srcId="{BBD850AB-7831-429A-A9CB-8A6806345C65}" destId="{A7618A7F-4067-4EAA-A026-8CC86EDD55CD}" srcOrd="0" destOrd="0" presId="urn:microsoft.com/office/officeart/2005/8/layout/hierarchy1"/>
    <dgm:cxn modelId="{EE1E469F-DA3D-436C-BBF1-C8C94B15BF08}" srcId="{BBD850AB-7831-429A-A9CB-8A6806345C65}" destId="{7E93A04B-FED0-4189-8365-1BE475BEB3D7}" srcOrd="0" destOrd="0" parTransId="{D5CC3932-9586-43C3-9D3F-487666EDBAF1}" sibTransId="{CE515290-F080-4000-A071-A5E6F42A7C24}"/>
    <dgm:cxn modelId="{D17074A8-1723-4EFE-BADD-F5D76464222E}" type="presOf" srcId="{5494A45B-E07F-4B61-97E3-BF9944A344E6}" destId="{601C9F3F-EDA8-4D98-8CFB-E7E1999B2B07}" srcOrd="0" destOrd="0" presId="urn:microsoft.com/office/officeart/2005/8/layout/hierarchy1"/>
    <dgm:cxn modelId="{485890AF-3528-48A5-BA1C-F92465AEB31C}" type="presOf" srcId="{7E93A04B-FED0-4189-8365-1BE475BEB3D7}" destId="{0B8C97CA-5681-431F-A488-7DB5D5A1B745}" srcOrd="0" destOrd="0" presId="urn:microsoft.com/office/officeart/2005/8/layout/hierarchy1"/>
    <dgm:cxn modelId="{DE41AED0-EC6D-4892-AE03-5CE84B4F4C0A}" srcId="{B79BE301-999A-446C-8668-66C0B53E7C73}" destId="{7F326702-5A8A-459E-A9D4-46DF41B72FC4}" srcOrd="1" destOrd="0" parTransId="{180F0087-C670-45E5-85AC-665D64897FBA}" sibTransId="{82C04277-6991-4ABF-8A0B-E71A72287E9C}"/>
    <dgm:cxn modelId="{28B7C8D5-AE0E-488C-AE18-17E60706A210}" srcId="{AD89EC3D-CC76-4E41-8C03-61F32FE5372D}" destId="{C8CD4271-44DB-4704-9B20-F0D88AE0B137}" srcOrd="2" destOrd="0" parTransId="{3624593E-E9CC-4993-9C88-C3054B644C43}" sibTransId="{01F41842-6F5C-4EF4-AA9B-410EC58699C2}"/>
    <dgm:cxn modelId="{11078BD7-F354-44A3-A88C-ADC2389F4072}" type="presOf" srcId="{9A8EFD3F-1708-41B2-9DAC-26EFFA769428}" destId="{536B9916-F692-4B30-B914-729FA90B41A5}" srcOrd="0" destOrd="0" presId="urn:microsoft.com/office/officeart/2005/8/layout/hierarchy1"/>
    <dgm:cxn modelId="{303B08EE-BE17-45C2-97FC-4844A24E4EE3}" type="presOf" srcId="{7DEDB31F-72E5-4EDE-B20C-A143C0890DB0}" destId="{0CC6FAA2-2808-4455-B139-7A8BA56E2319}" srcOrd="0" destOrd="0" presId="urn:microsoft.com/office/officeart/2005/8/layout/hierarchy1"/>
    <dgm:cxn modelId="{E024B8F2-CAF9-4FB6-9715-2D3D5FD55C24}" type="presOf" srcId="{76D97271-A035-40EC-A425-1175C332C4B3}" destId="{AEABD80D-8034-4B17-B022-C295CB2573D0}" srcOrd="0" destOrd="0" presId="urn:microsoft.com/office/officeart/2005/8/layout/hierarchy1"/>
    <dgm:cxn modelId="{3B5B6CFC-518A-4DD9-998E-56064F5727DA}" srcId="{BBD850AB-7831-429A-A9CB-8A6806345C65}" destId="{DE09EAA6-D08B-48DF-B57D-429E21F06A34}" srcOrd="1" destOrd="0" parTransId="{9A8EFD3F-1708-41B2-9DAC-26EFFA769428}" sibTransId="{F3A4D410-8C98-4E73-B2F1-11FF79081E18}"/>
    <dgm:cxn modelId="{44D5F717-A2DD-4A21-94C0-140B9FF66760}" type="presParOf" srcId="{743CD038-956D-4663-96FF-C39174E7CED9}" destId="{45080CE6-9E87-4E4B-A8F2-02D5AE7473B2}" srcOrd="0" destOrd="0" presId="urn:microsoft.com/office/officeart/2005/8/layout/hierarchy1"/>
    <dgm:cxn modelId="{8D010C45-2385-4FBC-B228-D99DF020F2B7}" type="presParOf" srcId="{45080CE6-9E87-4E4B-A8F2-02D5AE7473B2}" destId="{96FC135C-FC7C-464E-9341-D7F37895C026}" srcOrd="0" destOrd="0" presId="urn:microsoft.com/office/officeart/2005/8/layout/hierarchy1"/>
    <dgm:cxn modelId="{D93F9874-AD47-4C73-B95D-193E3ABBCC48}" type="presParOf" srcId="{96FC135C-FC7C-464E-9341-D7F37895C026}" destId="{7EFC9D72-2A73-4977-9511-A5637E39F567}" srcOrd="0" destOrd="0" presId="urn:microsoft.com/office/officeart/2005/8/layout/hierarchy1"/>
    <dgm:cxn modelId="{CDDDB1DE-2622-456B-8437-32DB08CCEFFD}" type="presParOf" srcId="{96FC135C-FC7C-464E-9341-D7F37895C026}" destId="{BB6E73B1-CB65-451D-A8F1-84195A2FAC15}" srcOrd="1" destOrd="0" presId="urn:microsoft.com/office/officeart/2005/8/layout/hierarchy1"/>
    <dgm:cxn modelId="{7AA816B0-B0DA-43A2-87ED-F30FE784DD5E}" type="presParOf" srcId="{45080CE6-9E87-4E4B-A8F2-02D5AE7473B2}" destId="{49BDD7F6-CBA4-45C9-9278-8E3781F08ED9}" srcOrd="1" destOrd="0" presId="urn:microsoft.com/office/officeart/2005/8/layout/hierarchy1"/>
    <dgm:cxn modelId="{F1B538D0-EC5C-4771-B4FC-C2F55CA9EA5E}" type="presParOf" srcId="{49BDD7F6-CBA4-45C9-9278-8E3781F08ED9}" destId="{4A68CA3E-7A81-46CC-896E-DDE17FBCFC24}" srcOrd="0" destOrd="0" presId="urn:microsoft.com/office/officeart/2005/8/layout/hierarchy1"/>
    <dgm:cxn modelId="{676ED325-EA77-44CB-8BF8-C0EA69BC3156}" type="presParOf" srcId="{49BDD7F6-CBA4-45C9-9278-8E3781F08ED9}" destId="{17167829-CF94-4307-B22B-995FAC57FEBA}" srcOrd="1" destOrd="0" presId="urn:microsoft.com/office/officeart/2005/8/layout/hierarchy1"/>
    <dgm:cxn modelId="{93683534-66A8-4F5B-9AF3-3F74333B16D3}" type="presParOf" srcId="{17167829-CF94-4307-B22B-995FAC57FEBA}" destId="{E4896D7E-3508-459B-85D7-5F61803E4C32}" srcOrd="0" destOrd="0" presId="urn:microsoft.com/office/officeart/2005/8/layout/hierarchy1"/>
    <dgm:cxn modelId="{F764F4DE-D112-41FA-8505-169918EF3E44}" type="presParOf" srcId="{E4896D7E-3508-459B-85D7-5F61803E4C32}" destId="{8968AC92-A81F-4FBF-886A-EBF42691F4E5}" srcOrd="0" destOrd="0" presId="urn:microsoft.com/office/officeart/2005/8/layout/hierarchy1"/>
    <dgm:cxn modelId="{9E795CDF-9092-4A3C-A4EF-8C7672C9E363}" type="presParOf" srcId="{E4896D7E-3508-459B-85D7-5F61803E4C32}" destId="{A7618A7F-4067-4EAA-A026-8CC86EDD55CD}" srcOrd="1" destOrd="0" presId="urn:microsoft.com/office/officeart/2005/8/layout/hierarchy1"/>
    <dgm:cxn modelId="{099F28DA-4FE8-4456-90BD-757C1B123F91}" type="presParOf" srcId="{17167829-CF94-4307-B22B-995FAC57FEBA}" destId="{D1BA5BCB-4ECA-461D-BAA7-33D946CEAE23}" srcOrd="1" destOrd="0" presId="urn:microsoft.com/office/officeart/2005/8/layout/hierarchy1"/>
    <dgm:cxn modelId="{FA47F693-9B10-49DD-BAFB-372015F14BBE}" type="presParOf" srcId="{D1BA5BCB-4ECA-461D-BAA7-33D946CEAE23}" destId="{19956D68-33CC-4A9F-9D5B-F45DD5028DFB}" srcOrd="0" destOrd="0" presId="urn:microsoft.com/office/officeart/2005/8/layout/hierarchy1"/>
    <dgm:cxn modelId="{0DA38A5C-B678-4D73-AB1C-C84D6430A928}" type="presParOf" srcId="{D1BA5BCB-4ECA-461D-BAA7-33D946CEAE23}" destId="{1FD471C9-579E-40A3-837F-B3D0FED67E8D}" srcOrd="1" destOrd="0" presId="urn:microsoft.com/office/officeart/2005/8/layout/hierarchy1"/>
    <dgm:cxn modelId="{84244D7F-E124-4A9D-A294-0B40E7787428}" type="presParOf" srcId="{1FD471C9-579E-40A3-837F-B3D0FED67E8D}" destId="{BA2AE274-1B37-4763-9FF0-562FBB08907F}" srcOrd="0" destOrd="0" presId="urn:microsoft.com/office/officeart/2005/8/layout/hierarchy1"/>
    <dgm:cxn modelId="{EA901201-C690-44BE-BD66-B193B6FB97DC}" type="presParOf" srcId="{BA2AE274-1B37-4763-9FF0-562FBB08907F}" destId="{52F364C9-FEF0-4C93-B6B0-61EE2197B04F}" srcOrd="0" destOrd="0" presId="urn:microsoft.com/office/officeart/2005/8/layout/hierarchy1"/>
    <dgm:cxn modelId="{2C07CD08-D0E3-4AE6-AA51-33AAE8E6BA83}" type="presParOf" srcId="{BA2AE274-1B37-4763-9FF0-562FBB08907F}" destId="{0B8C97CA-5681-431F-A488-7DB5D5A1B745}" srcOrd="1" destOrd="0" presId="urn:microsoft.com/office/officeart/2005/8/layout/hierarchy1"/>
    <dgm:cxn modelId="{71E687C5-3C87-4E00-B472-A15BA589E3C9}" type="presParOf" srcId="{1FD471C9-579E-40A3-837F-B3D0FED67E8D}" destId="{3518D35A-D152-4D1C-AA3A-8E15E18F9D6C}" srcOrd="1" destOrd="0" presId="urn:microsoft.com/office/officeart/2005/8/layout/hierarchy1"/>
    <dgm:cxn modelId="{06DE8774-1E4E-4D25-AA22-7784C5E473A6}" type="presParOf" srcId="{D1BA5BCB-4ECA-461D-BAA7-33D946CEAE23}" destId="{536B9916-F692-4B30-B914-729FA90B41A5}" srcOrd="2" destOrd="0" presId="urn:microsoft.com/office/officeart/2005/8/layout/hierarchy1"/>
    <dgm:cxn modelId="{2A5967B5-414D-4EEF-938E-D29FA54E96CE}" type="presParOf" srcId="{D1BA5BCB-4ECA-461D-BAA7-33D946CEAE23}" destId="{FDE71660-B7F7-4685-A51A-ED9CDE1F7F0F}" srcOrd="3" destOrd="0" presId="urn:microsoft.com/office/officeart/2005/8/layout/hierarchy1"/>
    <dgm:cxn modelId="{1883E50A-251E-479B-9931-DA367CA569CD}" type="presParOf" srcId="{FDE71660-B7F7-4685-A51A-ED9CDE1F7F0F}" destId="{5FC26BD0-3585-47BF-A367-C25ED43864ED}" srcOrd="0" destOrd="0" presId="urn:microsoft.com/office/officeart/2005/8/layout/hierarchy1"/>
    <dgm:cxn modelId="{8E0FF604-7CB8-4682-B043-A07BCA9A1EEE}" type="presParOf" srcId="{5FC26BD0-3585-47BF-A367-C25ED43864ED}" destId="{20E343A7-28AD-4636-B933-F7D3EF402314}" srcOrd="0" destOrd="0" presId="urn:microsoft.com/office/officeart/2005/8/layout/hierarchy1"/>
    <dgm:cxn modelId="{5C838DDE-FA50-4DA4-A79A-FEA2787B6578}" type="presParOf" srcId="{5FC26BD0-3585-47BF-A367-C25ED43864ED}" destId="{89AE2736-DBA7-4DE2-866D-A018FABF44F5}" srcOrd="1" destOrd="0" presId="urn:microsoft.com/office/officeart/2005/8/layout/hierarchy1"/>
    <dgm:cxn modelId="{61969C1B-2804-4C8D-B5D5-459D4EF59D3E}" type="presParOf" srcId="{FDE71660-B7F7-4685-A51A-ED9CDE1F7F0F}" destId="{75BC7392-389D-4179-8208-44F4F0F7AA64}" srcOrd="1" destOrd="0" presId="urn:microsoft.com/office/officeart/2005/8/layout/hierarchy1"/>
    <dgm:cxn modelId="{8FF0728E-8937-46CD-B421-42AD616452BA}" type="presParOf" srcId="{D1BA5BCB-4ECA-461D-BAA7-33D946CEAE23}" destId="{601C9F3F-EDA8-4D98-8CFB-E7E1999B2B07}" srcOrd="4" destOrd="0" presId="urn:microsoft.com/office/officeart/2005/8/layout/hierarchy1"/>
    <dgm:cxn modelId="{44175A00-5FC8-4143-914E-423BB991173D}" type="presParOf" srcId="{D1BA5BCB-4ECA-461D-BAA7-33D946CEAE23}" destId="{6B24294C-802A-4626-BF54-04398219C4EA}" srcOrd="5" destOrd="0" presId="urn:microsoft.com/office/officeart/2005/8/layout/hierarchy1"/>
    <dgm:cxn modelId="{9D61F467-A7F2-4B9E-BEB9-DF95EED1AB98}" type="presParOf" srcId="{6B24294C-802A-4626-BF54-04398219C4EA}" destId="{5E0E169A-C9E3-4C21-9307-A13FCB118B81}" srcOrd="0" destOrd="0" presId="urn:microsoft.com/office/officeart/2005/8/layout/hierarchy1"/>
    <dgm:cxn modelId="{5E8A9FD3-0968-437E-94C0-E609952BB9F5}" type="presParOf" srcId="{5E0E169A-C9E3-4C21-9307-A13FCB118B81}" destId="{8132B87B-DA8E-4474-9914-00020270F0E4}" srcOrd="0" destOrd="0" presId="urn:microsoft.com/office/officeart/2005/8/layout/hierarchy1"/>
    <dgm:cxn modelId="{194214C3-EBF7-4BED-A49E-A8C1FD109921}" type="presParOf" srcId="{5E0E169A-C9E3-4C21-9307-A13FCB118B81}" destId="{A85B7725-86B0-4A0C-9D12-DC9374FE3877}" srcOrd="1" destOrd="0" presId="urn:microsoft.com/office/officeart/2005/8/layout/hierarchy1"/>
    <dgm:cxn modelId="{A3044B4B-3651-4A34-B667-6A314088DAD2}" type="presParOf" srcId="{6B24294C-802A-4626-BF54-04398219C4EA}" destId="{FAD82E86-C192-46F0-A503-A7507D267B3D}" srcOrd="1" destOrd="0" presId="urn:microsoft.com/office/officeart/2005/8/layout/hierarchy1"/>
    <dgm:cxn modelId="{01D87562-EC1C-449B-885B-10BE21143F96}" type="presParOf" srcId="{FAD82E86-C192-46F0-A503-A7507D267B3D}" destId="{0CC6FAA2-2808-4455-B139-7A8BA56E2319}" srcOrd="0" destOrd="0" presId="urn:microsoft.com/office/officeart/2005/8/layout/hierarchy1"/>
    <dgm:cxn modelId="{56E046D9-EE8E-4B9C-803E-9182D98A40F0}" type="presParOf" srcId="{FAD82E86-C192-46F0-A503-A7507D267B3D}" destId="{2D46151E-B435-4A3D-A6FF-7D625478A2EA}" srcOrd="1" destOrd="0" presId="urn:microsoft.com/office/officeart/2005/8/layout/hierarchy1"/>
    <dgm:cxn modelId="{4D490F17-928E-4EFB-9695-459E05ADCAF5}" type="presParOf" srcId="{2D46151E-B435-4A3D-A6FF-7D625478A2EA}" destId="{47D6AC7B-F0F4-4612-A7FE-DBFECA32BBC6}" srcOrd="0" destOrd="0" presId="urn:microsoft.com/office/officeart/2005/8/layout/hierarchy1"/>
    <dgm:cxn modelId="{63B1A2C6-A234-4B3F-A4B7-10C092A22528}" type="presParOf" srcId="{47D6AC7B-F0F4-4612-A7FE-DBFECA32BBC6}" destId="{7922CD79-27EB-40EF-8A0F-9191195965E0}" srcOrd="0" destOrd="0" presId="urn:microsoft.com/office/officeart/2005/8/layout/hierarchy1"/>
    <dgm:cxn modelId="{7E2D52AD-E01D-42A2-85FF-64936F5EA12B}" type="presParOf" srcId="{47D6AC7B-F0F4-4612-A7FE-DBFECA32BBC6}" destId="{631FC335-1BB6-4A03-8DF4-1B5FF440D221}" srcOrd="1" destOrd="0" presId="urn:microsoft.com/office/officeart/2005/8/layout/hierarchy1"/>
    <dgm:cxn modelId="{76AFA82D-4A68-4759-9AF8-55DC3730EBA5}" type="presParOf" srcId="{2D46151E-B435-4A3D-A6FF-7D625478A2EA}" destId="{C79E22F6-7965-4978-AAAC-7DF50CA85232}" srcOrd="1" destOrd="0" presId="urn:microsoft.com/office/officeart/2005/8/layout/hierarchy1"/>
    <dgm:cxn modelId="{4A60ECF4-9226-493E-A9AF-D00C3F1A932E}" type="presParOf" srcId="{FAD82E86-C192-46F0-A503-A7507D267B3D}" destId="{AEABD80D-8034-4B17-B022-C295CB2573D0}" srcOrd="2" destOrd="0" presId="urn:microsoft.com/office/officeart/2005/8/layout/hierarchy1"/>
    <dgm:cxn modelId="{F5818B03-491E-40C7-AA12-86FCAB27F53F}" type="presParOf" srcId="{FAD82E86-C192-46F0-A503-A7507D267B3D}" destId="{73F6D4C1-1C90-4CA0-B52F-405F669CEC24}" srcOrd="3" destOrd="0" presId="urn:microsoft.com/office/officeart/2005/8/layout/hierarchy1"/>
    <dgm:cxn modelId="{BE439392-063F-4C90-8E73-243DD733EBBE}" type="presParOf" srcId="{73F6D4C1-1C90-4CA0-B52F-405F669CEC24}" destId="{4BA25693-9337-4076-BB9E-67731D39FE55}" srcOrd="0" destOrd="0" presId="urn:microsoft.com/office/officeart/2005/8/layout/hierarchy1"/>
    <dgm:cxn modelId="{4A5706F7-00AE-47C5-81DD-D8869A2C3B6D}" type="presParOf" srcId="{4BA25693-9337-4076-BB9E-67731D39FE55}" destId="{1C1D5978-74BE-4EFE-98E8-0730B4B18C26}" srcOrd="0" destOrd="0" presId="urn:microsoft.com/office/officeart/2005/8/layout/hierarchy1"/>
    <dgm:cxn modelId="{966FCD21-5F03-4686-96BD-A794F26D529E}" type="presParOf" srcId="{4BA25693-9337-4076-BB9E-67731D39FE55}" destId="{7087B594-E473-4CC5-A7ED-6C28DE28D8A2}" srcOrd="1" destOrd="0" presId="urn:microsoft.com/office/officeart/2005/8/layout/hierarchy1"/>
    <dgm:cxn modelId="{9B4E4E74-75CF-4F6B-B140-5D31E5406C98}" type="presParOf" srcId="{73F6D4C1-1C90-4CA0-B52F-405F669CEC24}" destId="{1F2F112E-B1D6-4AE1-8ADE-5D3ED16E3EE6}" srcOrd="1" destOrd="0" presId="urn:microsoft.com/office/officeart/2005/8/layout/hierarchy1"/>
    <dgm:cxn modelId="{8B7BCF57-563D-4A7F-9A46-95206DDE90BF}" type="presParOf" srcId="{FAD82E86-C192-46F0-A503-A7507D267B3D}" destId="{C89BBA54-156D-4229-9FC3-91CB2E3ABA9F}" srcOrd="4" destOrd="0" presId="urn:microsoft.com/office/officeart/2005/8/layout/hierarchy1"/>
    <dgm:cxn modelId="{48B0C234-8D35-421D-9B0A-31A446D7E9B5}" type="presParOf" srcId="{FAD82E86-C192-46F0-A503-A7507D267B3D}" destId="{5D78EAF1-4C13-4E07-8068-0CA5A3F236CD}" srcOrd="5" destOrd="0" presId="urn:microsoft.com/office/officeart/2005/8/layout/hierarchy1"/>
    <dgm:cxn modelId="{8BC02DD8-1805-431E-815A-2451520C2D7C}" type="presParOf" srcId="{5D78EAF1-4C13-4E07-8068-0CA5A3F236CD}" destId="{013E80F6-8FCC-405B-8AD6-92B8C8A4E8F4}" srcOrd="0" destOrd="0" presId="urn:microsoft.com/office/officeart/2005/8/layout/hierarchy1"/>
    <dgm:cxn modelId="{C7B12162-9DAD-4DBC-8BAF-0D16F5B4598F}" type="presParOf" srcId="{013E80F6-8FCC-405B-8AD6-92B8C8A4E8F4}" destId="{E89CBBA2-21BA-4F4D-8A72-93290C2EDB75}" srcOrd="0" destOrd="0" presId="urn:microsoft.com/office/officeart/2005/8/layout/hierarchy1"/>
    <dgm:cxn modelId="{C865C070-8533-4F5E-A398-33FD7FE71F96}" type="presParOf" srcId="{013E80F6-8FCC-405B-8AD6-92B8C8A4E8F4}" destId="{7ECF7AFC-EA16-4D31-BAAE-F728DF8768B7}" srcOrd="1" destOrd="0" presId="urn:microsoft.com/office/officeart/2005/8/layout/hierarchy1"/>
    <dgm:cxn modelId="{6F12AECD-5DDD-400D-BD6C-25E8F9A321FA}" type="presParOf" srcId="{5D78EAF1-4C13-4E07-8068-0CA5A3F236CD}" destId="{F586639D-757A-4DDA-AFBE-BFA088202C42}" srcOrd="1" destOrd="0" presId="urn:microsoft.com/office/officeart/2005/8/layout/hierarchy1"/>
    <dgm:cxn modelId="{57D31AB2-2EA5-42AE-B004-F2922896E70B}" type="presParOf" srcId="{49BDD7F6-CBA4-45C9-9278-8E3781F08ED9}" destId="{760D14E6-EB2F-4170-9879-4086B935EECF}" srcOrd="2" destOrd="0" presId="urn:microsoft.com/office/officeart/2005/8/layout/hierarchy1"/>
    <dgm:cxn modelId="{025354DB-56ED-49B6-BF4E-0D1AE84D8684}" type="presParOf" srcId="{49BDD7F6-CBA4-45C9-9278-8E3781F08ED9}" destId="{67D1097E-4C19-4E12-8322-B9136B4609F9}" srcOrd="3" destOrd="0" presId="urn:microsoft.com/office/officeart/2005/8/layout/hierarchy1"/>
    <dgm:cxn modelId="{24948B6F-2B6C-4C59-8656-91A07702632F}" type="presParOf" srcId="{67D1097E-4C19-4E12-8322-B9136B4609F9}" destId="{49049831-DCE9-4397-A6DA-97B664B751A1}" srcOrd="0" destOrd="0" presId="urn:microsoft.com/office/officeart/2005/8/layout/hierarchy1"/>
    <dgm:cxn modelId="{D0713256-E90A-4F6B-9A52-BF7B7FE3999D}" type="presParOf" srcId="{49049831-DCE9-4397-A6DA-97B664B751A1}" destId="{4A53B5E7-63A7-4218-9EE3-D77BE5415CE0}" srcOrd="0" destOrd="0" presId="urn:microsoft.com/office/officeart/2005/8/layout/hierarchy1"/>
    <dgm:cxn modelId="{F499C2EF-A05F-4354-A534-C480F847074E}" type="presParOf" srcId="{49049831-DCE9-4397-A6DA-97B664B751A1}" destId="{A9DA4F64-9D9D-49A8-A56B-E15DA1B209B4}" srcOrd="1" destOrd="0" presId="urn:microsoft.com/office/officeart/2005/8/layout/hierarchy1"/>
    <dgm:cxn modelId="{0E8FB175-0025-4864-AB1D-A802620392CC}" type="presParOf" srcId="{67D1097E-4C19-4E12-8322-B9136B4609F9}" destId="{E8EBA25D-142E-46DD-8D21-AE397C05263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A9614A5-7333-4C40-A9F1-583713A10816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9EE8F96C-0896-45A1-880C-823CFFCB46E5}">
      <dgm:prSet phldrT="[Text]" phldr="1" custT="1"/>
      <dgm:spPr/>
      <dgm:t>
        <a:bodyPr/>
        <a:lstStyle/>
        <a:p>
          <a:endParaRPr lang="en-US" sz="1400"/>
        </a:p>
      </dgm:t>
    </dgm:pt>
    <dgm:pt modelId="{46B8F5E6-00F5-4073-832D-34F342D2DA5F}" type="parTrans" cxnId="{9A2B058F-9CCC-4F2E-AC6F-F605D459DF31}">
      <dgm:prSet/>
      <dgm:spPr/>
      <dgm:t>
        <a:bodyPr/>
        <a:lstStyle/>
        <a:p>
          <a:endParaRPr lang="en-US" sz="1400"/>
        </a:p>
      </dgm:t>
    </dgm:pt>
    <dgm:pt modelId="{81079CED-846E-413A-B413-801DED6E9847}" type="sibTrans" cxnId="{9A2B058F-9CCC-4F2E-AC6F-F605D459DF31}">
      <dgm:prSet/>
      <dgm:spPr/>
      <dgm:t>
        <a:bodyPr/>
        <a:lstStyle/>
        <a:p>
          <a:endParaRPr lang="en-US" sz="1400"/>
        </a:p>
      </dgm:t>
    </dgm:pt>
    <dgm:pt modelId="{449ACB01-4837-4A83-8D73-2A878EC7DED9}">
      <dgm:prSet phldrT="[Text]" phldr="1" custT="1"/>
      <dgm:spPr/>
      <dgm:t>
        <a:bodyPr/>
        <a:lstStyle/>
        <a:p>
          <a:endParaRPr lang="en-US" sz="1400"/>
        </a:p>
      </dgm:t>
    </dgm:pt>
    <dgm:pt modelId="{16277B5F-71FE-4972-89D3-C4FEC0EDCECD}" type="parTrans" cxnId="{E12A5C8B-4FDA-45ED-854A-781CAE8674BE}">
      <dgm:prSet/>
      <dgm:spPr/>
      <dgm:t>
        <a:bodyPr/>
        <a:lstStyle/>
        <a:p>
          <a:endParaRPr lang="en-US" sz="1400"/>
        </a:p>
      </dgm:t>
    </dgm:pt>
    <dgm:pt modelId="{F113E866-3703-4B99-B0D3-8341E86E5190}" type="sibTrans" cxnId="{E12A5C8B-4FDA-45ED-854A-781CAE8674BE}">
      <dgm:prSet/>
      <dgm:spPr/>
      <dgm:t>
        <a:bodyPr/>
        <a:lstStyle/>
        <a:p>
          <a:endParaRPr lang="en-US" sz="1400"/>
        </a:p>
      </dgm:t>
    </dgm:pt>
    <dgm:pt modelId="{041547D2-B9AB-4EAD-A747-FBB999BB7549}">
      <dgm:prSet phldrT="[Text]" phldr="1" custT="1"/>
      <dgm:spPr/>
      <dgm:t>
        <a:bodyPr/>
        <a:lstStyle/>
        <a:p>
          <a:endParaRPr lang="en-US" sz="1400"/>
        </a:p>
      </dgm:t>
    </dgm:pt>
    <dgm:pt modelId="{5E682C60-EA4E-4D0E-9FE7-A2C3737022A0}" type="parTrans" cxnId="{511A6AA5-18AF-451A-A2AA-163822C1E200}">
      <dgm:prSet/>
      <dgm:spPr/>
      <dgm:t>
        <a:bodyPr/>
        <a:lstStyle/>
        <a:p>
          <a:endParaRPr lang="en-US" sz="1400"/>
        </a:p>
      </dgm:t>
    </dgm:pt>
    <dgm:pt modelId="{17A6FD43-B5AA-448B-8039-E253BEDDCEFC}" type="sibTrans" cxnId="{511A6AA5-18AF-451A-A2AA-163822C1E200}">
      <dgm:prSet/>
      <dgm:spPr/>
      <dgm:t>
        <a:bodyPr/>
        <a:lstStyle/>
        <a:p>
          <a:endParaRPr lang="en-US" sz="1400"/>
        </a:p>
      </dgm:t>
    </dgm:pt>
    <dgm:pt modelId="{74DFE898-C797-49F0-85EB-9B6EEF392EDF}">
      <dgm:prSet phldrT="[Text]" phldr="1" custT="1"/>
      <dgm:spPr/>
      <dgm:t>
        <a:bodyPr/>
        <a:lstStyle/>
        <a:p>
          <a:endParaRPr lang="en-US" sz="1400"/>
        </a:p>
      </dgm:t>
    </dgm:pt>
    <dgm:pt modelId="{8F4FDE4D-51EE-4307-958A-D3176B498847}" type="parTrans" cxnId="{3DB72660-2976-4AE7-A3C2-31669D3A1861}">
      <dgm:prSet/>
      <dgm:spPr/>
      <dgm:t>
        <a:bodyPr/>
        <a:lstStyle/>
        <a:p>
          <a:endParaRPr lang="en-US" sz="1400"/>
        </a:p>
      </dgm:t>
    </dgm:pt>
    <dgm:pt modelId="{4A6AA169-8EBB-4401-B1E5-8A62A22722CF}" type="sibTrans" cxnId="{3DB72660-2976-4AE7-A3C2-31669D3A1861}">
      <dgm:prSet/>
      <dgm:spPr/>
      <dgm:t>
        <a:bodyPr/>
        <a:lstStyle/>
        <a:p>
          <a:endParaRPr lang="en-US" sz="1400"/>
        </a:p>
      </dgm:t>
    </dgm:pt>
    <dgm:pt modelId="{C06194D6-E6A9-425F-9B19-88285F0EC1D1}">
      <dgm:prSet phldrT="[Text]" phldr="1" custT="1"/>
      <dgm:spPr/>
      <dgm:t>
        <a:bodyPr/>
        <a:lstStyle/>
        <a:p>
          <a:endParaRPr lang="en-US" sz="1400"/>
        </a:p>
      </dgm:t>
    </dgm:pt>
    <dgm:pt modelId="{FB30153A-1166-4656-BC57-3040647E351D}" type="parTrans" cxnId="{9DF37ECE-5EA4-4BDF-93F3-7B590A3D3887}">
      <dgm:prSet/>
      <dgm:spPr/>
      <dgm:t>
        <a:bodyPr/>
        <a:lstStyle/>
        <a:p>
          <a:endParaRPr lang="en-US" sz="1400"/>
        </a:p>
      </dgm:t>
    </dgm:pt>
    <dgm:pt modelId="{04325757-056D-4478-BEFF-44FCEE6D4E70}" type="sibTrans" cxnId="{9DF37ECE-5EA4-4BDF-93F3-7B590A3D3887}">
      <dgm:prSet/>
      <dgm:spPr/>
      <dgm:t>
        <a:bodyPr/>
        <a:lstStyle/>
        <a:p>
          <a:endParaRPr lang="en-US" sz="1400"/>
        </a:p>
      </dgm:t>
    </dgm:pt>
    <dgm:pt modelId="{52A2B925-C96B-4F65-BC4D-5AE43931F7F9}">
      <dgm:prSet phldrT="[Text]" phldr="1" custT="1"/>
      <dgm:spPr/>
      <dgm:t>
        <a:bodyPr/>
        <a:lstStyle/>
        <a:p>
          <a:endParaRPr lang="en-US" sz="1400"/>
        </a:p>
      </dgm:t>
    </dgm:pt>
    <dgm:pt modelId="{03B9AABE-14A4-4F0E-A02F-01B706E5CE90}" type="parTrans" cxnId="{F4DFB8B7-7721-4ABB-AFC5-2092016A9514}">
      <dgm:prSet/>
      <dgm:spPr/>
      <dgm:t>
        <a:bodyPr/>
        <a:lstStyle/>
        <a:p>
          <a:endParaRPr lang="en-US" sz="1400"/>
        </a:p>
      </dgm:t>
    </dgm:pt>
    <dgm:pt modelId="{982BE5FF-8EBB-40F6-82AD-E3D8AB1A301E}" type="sibTrans" cxnId="{F4DFB8B7-7721-4ABB-AFC5-2092016A9514}">
      <dgm:prSet/>
      <dgm:spPr/>
      <dgm:t>
        <a:bodyPr/>
        <a:lstStyle/>
        <a:p>
          <a:endParaRPr lang="en-US" sz="1400"/>
        </a:p>
      </dgm:t>
    </dgm:pt>
    <dgm:pt modelId="{2B60F6AB-2C53-4427-9BD0-D10480A11957}" type="pres">
      <dgm:prSet presAssocID="{5A9614A5-7333-4C40-A9F1-583713A1081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9FF4073-F0A0-4034-9C16-D868067D9FF6}" type="pres">
      <dgm:prSet presAssocID="{9EE8F96C-0896-45A1-880C-823CFFCB46E5}" presName="hierRoot1" presStyleCnt="0"/>
      <dgm:spPr/>
    </dgm:pt>
    <dgm:pt modelId="{FA22385F-69A0-4E78-A109-32813C9B77BC}" type="pres">
      <dgm:prSet presAssocID="{9EE8F96C-0896-45A1-880C-823CFFCB46E5}" presName="composite" presStyleCnt="0"/>
      <dgm:spPr/>
    </dgm:pt>
    <dgm:pt modelId="{D51591E1-51A9-46BA-9B0E-8256BD879458}" type="pres">
      <dgm:prSet presAssocID="{9EE8F96C-0896-45A1-880C-823CFFCB46E5}" presName="background" presStyleLbl="node0" presStyleIdx="0" presStyleCnt="1"/>
      <dgm:spPr/>
    </dgm:pt>
    <dgm:pt modelId="{07CD4A5F-22D1-405B-A7D4-AE7A1FC6F014}" type="pres">
      <dgm:prSet presAssocID="{9EE8F96C-0896-45A1-880C-823CFFCB46E5}" presName="text" presStyleLbl="fgAcc0" presStyleIdx="0" presStyleCnt="1">
        <dgm:presLayoutVars>
          <dgm:chPref val="3"/>
        </dgm:presLayoutVars>
      </dgm:prSet>
      <dgm:spPr/>
    </dgm:pt>
    <dgm:pt modelId="{E626D103-249A-4706-940A-646FA85E80F3}" type="pres">
      <dgm:prSet presAssocID="{9EE8F96C-0896-45A1-880C-823CFFCB46E5}" presName="hierChild2" presStyleCnt="0"/>
      <dgm:spPr/>
    </dgm:pt>
    <dgm:pt modelId="{36BACD7D-AD9B-47D3-8EF9-31265486257E}" type="pres">
      <dgm:prSet presAssocID="{16277B5F-71FE-4972-89D3-C4FEC0EDCECD}" presName="Name10" presStyleLbl="parChTrans1D2" presStyleIdx="0" presStyleCnt="2"/>
      <dgm:spPr/>
    </dgm:pt>
    <dgm:pt modelId="{D3568E55-D4FF-41C7-A960-74938F0F30D0}" type="pres">
      <dgm:prSet presAssocID="{449ACB01-4837-4A83-8D73-2A878EC7DED9}" presName="hierRoot2" presStyleCnt="0"/>
      <dgm:spPr/>
    </dgm:pt>
    <dgm:pt modelId="{01676FE6-9626-4379-B678-2EEC41E56683}" type="pres">
      <dgm:prSet presAssocID="{449ACB01-4837-4A83-8D73-2A878EC7DED9}" presName="composite2" presStyleCnt="0"/>
      <dgm:spPr/>
    </dgm:pt>
    <dgm:pt modelId="{DA95CF08-1727-4A80-AADA-AF0267804F38}" type="pres">
      <dgm:prSet presAssocID="{449ACB01-4837-4A83-8D73-2A878EC7DED9}" presName="background2" presStyleLbl="node2" presStyleIdx="0" presStyleCnt="2"/>
      <dgm:spPr/>
    </dgm:pt>
    <dgm:pt modelId="{F2804261-15F1-48E3-ABAE-91A8ED357BFC}" type="pres">
      <dgm:prSet presAssocID="{449ACB01-4837-4A83-8D73-2A878EC7DED9}" presName="text2" presStyleLbl="fgAcc2" presStyleIdx="0" presStyleCnt="2">
        <dgm:presLayoutVars>
          <dgm:chPref val="3"/>
        </dgm:presLayoutVars>
      </dgm:prSet>
      <dgm:spPr/>
    </dgm:pt>
    <dgm:pt modelId="{8F62277A-8691-44C3-AFFC-6E4E6ECA2ABE}" type="pres">
      <dgm:prSet presAssocID="{449ACB01-4837-4A83-8D73-2A878EC7DED9}" presName="hierChild3" presStyleCnt="0"/>
      <dgm:spPr/>
    </dgm:pt>
    <dgm:pt modelId="{E16D4E20-ECAA-4F04-BFB2-82A1242B1A3C}" type="pres">
      <dgm:prSet presAssocID="{5E682C60-EA4E-4D0E-9FE7-A2C3737022A0}" presName="Name17" presStyleLbl="parChTrans1D3" presStyleIdx="0" presStyleCnt="3"/>
      <dgm:spPr/>
    </dgm:pt>
    <dgm:pt modelId="{2DD42CE7-C815-4054-8FA9-1D101BE07E50}" type="pres">
      <dgm:prSet presAssocID="{041547D2-B9AB-4EAD-A747-FBB999BB7549}" presName="hierRoot3" presStyleCnt="0"/>
      <dgm:spPr/>
    </dgm:pt>
    <dgm:pt modelId="{7003B5C1-84B9-4738-B63E-13D2954AA64C}" type="pres">
      <dgm:prSet presAssocID="{041547D2-B9AB-4EAD-A747-FBB999BB7549}" presName="composite3" presStyleCnt="0"/>
      <dgm:spPr/>
    </dgm:pt>
    <dgm:pt modelId="{371FA2CB-8194-4E26-BCBF-2C9C0ACCFB80}" type="pres">
      <dgm:prSet presAssocID="{041547D2-B9AB-4EAD-A747-FBB999BB7549}" presName="background3" presStyleLbl="node3" presStyleIdx="0" presStyleCnt="3"/>
      <dgm:spPr/>
    </dgm:pt>
    <dgm:pt modelId="{F5A70243-488E-452C-8B8A-F1FF8D0446C7}" type="pres">
      <dgm:prSet presAssocID="{041547D2-B9AB-4EAD-A747-FBB999BB7549}" presName="text3" presStyleLbl="fgAcc3" presStyleIdx="0" presStyleCnt="3">
        <dgm:presLayoutVars>
          <dgm:chPref val="3"/>
        </dgm:presLayoutVars>
      </dgm:prSet>
      <dgm:spPr/>
    </dgm:pt>
    <dgm:pt modelId="{F640EEA8-FBCF-4614-A5F7-C172CE325399}" type="pres">
      <dgm:prSet presAssocID="{041547D2-B9AB-4EAD-A747-FBB999BB7549}" presName="hierChild4" presStyleCnt="0"/>
      <dgm:spPr/>
    </dgm:pt>
    <dgm:pt modelId="{07CE1916-F673-475A-A0D3-82087B5C0F4D}" type="pres">
      <dgm:prSet presAssocID="{8F4FDE4D-51EE-4307-958A-D3176B498847}" presName="Name17" presStyleLbl="parChTrans1D3" presStyleIdx="1" presStyleCnt="3"/>
      <dgm:spPr/>
    </dgm:pt>
    <dgm:pt modelId="{70659A6E-BF73-47AC-93A0-D71B53A62016}" type="pres">
      <dgm:prSet presAssocID="{74DFE898-C797-49F0-85EB-9B6EEF392EDF}" presName="hierRoot3" presStyleCnt="0"/>
      <dgm:spPr/>
    </dgm:pt>
    <dgm:pt modelId="{D143CBC4-8A48-4C64-9EB2-9A708016A014}" type="pres">
      <dgm:prSet presAssocID="{74DFE898-C797-49F0-85EB-9B6EEF392EDF}" presName="composite3" presStyleCnt="0"/>
      <dgm:spPr/>
    </dgm:pt>
    <dgm:pt modelId="{CC70F977-2067-4190-8A28-593B291C7825}" type="pres">
      <dgm:prSet presAssocID="{74DFE898-C797-49F0-85EB-9B6EEF392EDF}" presName="background3" presStyleLbl="node3" presStyleIdx="1" presStyleCnt="3"/>
      <dgm:spPr/>
    </dgm:pt>
    <dgm:pt modelId="{428F8EE5-775A-41F8-A3A4-B9EAA54A7C14}" type="pres">
      <dgm:prSet presAssocID="{74DFE898-C797-49F0-85EB-9B6EEF392EDF}" presName="text3" presStyleLbl="fgAcc3" presStyleIdx="1" presStyleCnt="3">
        <dgm:presLayoutVars>
          <dgm:chPref val="3"/>
        </dgm:presLayoutVars>
      </dgm:prSet>
      <dgm:spPr/>
    </dgm:pt>
    <dgm:pt modelId="{AD44ADC6-2FE8-482A-9923-719B6F7870B8}" type="pres">
      <dgm:prSet presAssocID="{74DFE898-C797-49F0-85EB-9B6EEF392EDF}" presName="hierChild4" presStyleCnt="0"/>
      <dgm:spPr/>
    </dgm:pt>
    <dgm:pt modelId="{6B667659-536F-46B2-8A30-C170A47346B7}" type="pres">
      <dgm:prSet presAssocID="{FB30153A-1166-4656-BC57-3040647E351D}" presName="Name10" presStyleLbl="parChTrans1D2" presStyleIdx="1" presStyleCnt="2"/>
      <dgm:spPr/>
    </dgm:pt>
    <dgm:pt modelId="{F6AEC61F-010A-435E-9E81-E20B60D9D4C6}" type="pres">
      <dgm:prSet presAssocID="{C06194D6-E6A9-425F-9B19-88285F0EC1D1}" presName="hierRoot2" presStyleCnt="0"/>
      <dgm:spPr/>
    </dgm:pt>
    <dgm:pt modelId="{56AE444B-50C5-4903-8B22-08DDA069F6E0}" type="pres">
      <dgm:prSet presAssocID="{C06194D6-E6A9-425F-9B19-88285F0EC1D1}" presName="composite2" presStyleCnt="0"/>
      <dgm:spPr/>
    </dgm:pt>
    <dgm:pt modelId="{16C97C11-516E-432A-9E4F-715787956126}" type="pres">
      <dgm:prSet presAssocID="{C06194D6-E6A9-425F-9B19-88285F0EC1D1}" presName="background2" presStyleLbl="node2" presStyleIdx="1" presStyleCnt="2"/>
      <dgm:spPr/>
    </dgm:pt>
    <dgm:pt modelId="{30D34D6A-88A0-49C7-8838-FCD832F11449}" type="pres">
      <dgm:prSet presAssocID="{C06194D6-E6A9-425F-9B19-88285F0EC1D1}" presName="text2" presStyleLbl="fgAcc2" presStyleIdx="1" presStyleCnt="2">
        <dgm:presLayoutVars>
          <dgm:chPref val="3"/>
        </dgm:presLayoutVars>
      </dgm:prSet>
      <dgm:spPr/>
    </dgm:pt>
    <dgm:pt modelId="{B694D087-60AE-4F45-84C9-2A37D80907EE}" type="pres">
      <dgm:prSet presAssocID="{C06194D6-E6A9-425F-9B19-88285F0EC1D1}" presName="hierChild3" presStyleCnt="0"/>
      <dgm:spPr/>
    </dgm:pt>
    <dgm:pt modelId="{8F0BF264-E4EF-4E9E-BFED-B467DB80D1B4}" type="pres">
      <dgm:prSet presAssocID="{03B9AABE-14A4-4F0E-A02F-01B706E5CE90}" presName="Name17" presStyleLbl="parChTrans1D3" presStyleIdx="2" presStyleCnt="3"/>
      <dgm:spPr/>
    </dgm:pt>
    <dgm:pt modelId="{0A45C155-729E-4C69-B389-35D87E8465A0}" type="pres">
      <dgm:prSet presAssocID="{52A2B925-C96B-4F65-BC4D-5AE43931F7F9}" presName="hierRoot3" presStyleCnt="0"/>
      <dgm:spPr/>
    </dgm:pt>
    <dgm:pt modelId="{AB2836E2-99B2-47C8-8188-391C88158182}" type="pres">
      <dgm:prSet presAssocID="{52A2B925-C96B-4F65-BC4D-5AE43931F7F9}" presName="composite3" presStyleCnt="0"/>
      <dgm:spPr/>
    </dgm:pt>
    <dgm:pt modelId="{9F16E53D-3794-415F-80C8-A290EBEE2001}" type="pres">
      <dgm:prSet presAssocID="{52A2B925-C96B-4F65-BC4D-5AE43931F7F9}" presName="background3" presStyleLbl="node3" presStyleIdx="2" presStyleCnt="3"/>
      <dgm:spPr/>
    </dgm:pt>
    <dgm:pt modelId="{DF6478E6-33AE-4054-90E1-F68CA454C232}" type="pres">
      <dgm:prSet presAssocID="{52A2B925-C96B-4F65-BC4D-5AE43931F7F9}" presName="text3" presStyleLbl="fgAcc3" presStyleIdx="2" presStyleCnt="3">
        <dgm:presLayoutVars>
          <dgm:chPref val="3"/>
        </dgm:presLayoutVars>
      </dgm:prSet>
      <dgm:spPr/>
    </dgm:pt>
    <dgm:pt modelId="{B40AD03A-7AC0-4200-A930-EEC299ECCBB4}" type="pres">
      <dgm:prSet presAssocID="{52A2B925-C96B-4F65-BC4D-5AE43931F7F9}" presName="hierChild4" presStyleCnt="0"/>
      <dgm:spPr/>
    </dgm:pt>
  </dgm:ptLst>
  <dgm:cxnLst>
    <dgm:cxn modelId="{7FBA3C03-0082-41D2-A2D3-A2082FFB9B99}" type="presOf" srcId="{041547D2-B9AB-4EAD-A747-FBB999BB7549}" destId="{F5A70243-488E-452C-8B8A-F1FF8D0446C7}" srcOrd="0" destOrd="0" presId="urn:microsoft.com/office/officeart/2005/8/layout/hierarchy1"/>
    <dgm:cxn modelId="{A1CDC419-E8A3-44F5-9152-DD402AFAEEA3}" type="presOf" srcId="{16277B5F-71FE-4972-89D3-C4FEC0EDCECD}" destId="{36BACD7D-AD9B-47D3-8EF9-31265486257E}" srcOrd="0" destOrd="0" presId="urn:microsoft.com/office/officeart/2005/8/layout/hierarchy1"/>
    <dgm:cxn modelId="{F4586E1B-95A6-4107-99B3-E1234F8DCF2F}" type="presOf" srcId="{449ACB01-4837-4A83-8D73-2A878EC7DED9}" destId="{F2804261-15F1-48E3-ABAE-91A8ED357BFC}" srcOrd="0" destOrd="0" presId="urn:microsoft.com/office/officeart/2005/8/layout/hierarchy1"/>
    <dgm:cxn modelId="{F33FDE26-2F4A-4A95-A142-E5D86256B429}" type="presOf" srcId="{03B9AABE-14A4-4F0E-A02F-01B706E5CE90}" destId="{8F0BF264-E4EF-4E9E-BFED-B467DB80D1B4}" srcOrd="0" destOrd="0" presId="urn:microsoft.com/office/officeart/2005/8/layout/hierarchy1"/>
    <dgm:cxn modelId="{7437722A-5BF1-47B8-8FE8-B17858AB6B2F}" type="presOf" srcId="{5A9614A5-7333-4C40-A9F1-583713A10816}" destId="{2B60F6AB-2C53-4427-9BD0-D10480A11957}" srcOrd="0" destOrd="0" presId="urn:microsoft.com/office/officeart/2005/8/layout/hierarchy1"/>
    <dgm:cxn modelId="{FF8DB72E-25D4-41AC-9551-1A109C8C25F3}" type="presOf" srcId="{C06194D6-E6A9-425F-9B19-88285F0EC1D1}" destId="{30D34D6A-88A0-49C7-8838-FCD832F11449}" srcOrd="0" destOrd="0" presId="urn:microsoft.com/office/officeart/2005/8/layout/hierarchy1"/>
    <dgm:cxn modelId="{D4FE5E35-27C2-4BB6-B30F-C161FB8EB2D3}" type="presOf" srcId="{5E682C60-EA4E-4D0E-9FE7-A2C3737022A0}" destId="{E16D4E20-ECAA-4F04-BFB2-82A1242B1A3C}" srcOrd="0" destOrd="0" presId="urn:microsoft.com/office/officeart/2005/8/layout/hierarchy1"/>
    <dgm:cxn modelId="{B7CFB03F-8044-4AE8-973E-AD32E8FA80C4}" type="presOf" srcId="{FB30153A-1166-4656-BC57-3040647E351D}" destId="{6B667659-536F-46B2-8A30-C170A47346B7}" srcOrd="0" destOrd="0" presId="urn:microsoft.com/office/officeart/2005/8/layout/hierarchy1"/>
    <dgm:cxn modelId="{3DB72660-2976-4AE7-A3C2-31669D3A1861}" srcId="{449ACB01-4837-4A83-8D73-2A878EC7DED9}" destId="{74DFE898-C797-49F0-85EB-9B6EEF392EDF}" srcOrd="1" destOrd="0" parTransId="{8F4FDE4D-51EE-4307-958A-D3176B498847}" sibTransId="{4A6AA169-8EBB-4401-B1E5-8A62A22722CF}"/>
    <dgm:cxn modelId="{1FA34663-713B-45D7-9C4B-A74335DA4A1D}" type="presOf" srcId="{52A2B925-C96B-4F65-BC4D-5AE43931F7F9}" destId="{DF6478E6-33AE-4054-90E1-F68CA454C232}" srcOrd="0" destOrd="0" presId="urn:microsoft.com/office/officeart/2005/8/layout/hierarchy1"/>
    <dgm:cxn modelId="{C15BE959-0508-4081-849A-BFAC24E50C2E}" type="presOf" srcId="{74DFE898-C797-49F0-85EB-9B6EEF392EDF}" destId="{428F8EE5-775A-41F8-A3A4-B9EAA54A7C14}" srcOrd="0" destOrd="0" presId="urn:microsoft.com/office/officeart/2005/8/layout/hierarchy1"/>
    <dgm:cxn modelId="{E12A5C8B-4FDA-45ED-854A-781CAE8674BE}" srcId="{9EE8F96C-0896-45A1-880C-823CFFCB46E5}" destId="{449ACB01-4837-4A83-8D73-2A878EC7DED9}" srcOrd="0" destOrd="0" parTransId="{16277B5F-71FE-4972-89D3-C4FEC0EDCECD}" sibTransId="{F113E866-3703-4B99-B0D3-8341E86E5190}"/>
    <dgm:cxn modelId="{9A2B058F-9CCC-4F2E-AC6F-F605D459DF31}" srcId="{5A9614A5-7333-4C40-A9F1-583713A10816}" destId="{9EE8F96C-0896-45A1-880C-823CFFCB46E5}" srcOrd="0" destOrd="0" parTransId="{46B8F5E6-00F5-4073-832D-34F342D2DA5F}" sibTransId="{81079CED-846E-413A-B413-801DED6E9847}"/>
    <dgm:cxn modelId="{63829093-9A57-4E2E-930B-E1F3FB976656}" type="presOf" srcId="{8F4FDE4D-51EE-4307-958A-D3176B498847}" destId="{07CE1916-F673-475A-A0D3-82087B5C0F4D}" srcOrd="0" destOrd="0" presId="urn:microsoft.com/office/officeart/2005/8/layout/hierarchy1"/>
    <dgm:cxn modelId="{511A6AA5-18AF-451A-A2AA-163822C1E200}" srcId="{449ACB01-4837-4A83-8D73-2A878EC7DED9}" destId="{041547D2-B9AB-4EAD-A747-FBB999BB7549}" srcOrd="0" destOrd="0" parTransId="{5E682C60-EA4E-4D0E-9FE7-A2C3737022A0}" sibTransId="{17A6FD43-B5AA-448B-8039-E253BEDDCEFC}"/>
    <dgm:cxn modelId="{F4DFB8B7-7721-4ABB-AFC5-2092016A9514}" srcId="{C06194D6-E6A9-425F-9B19-88285F0EC1D1}" destId="{52A2B925-C96B-4F65-BC4D-5AE43931F7F9}" srcOrd="0" destOrd="0" parTransId="{03B9AABE-14A4-4F0E-A02F-01B706E5CE90}" sibTransId="{982BE5FF-8EBB-40F6-82AD-E3D8AB1A301E}"/>
    <dgm:cxn modelId="{DE4634BA-C3A3-454F-9D96-FD4E353E25C9}" type="presOf" srcId="{9EE8F96C-0896-45A1-880C-823CFFCB46E5}" destId="{07CD4A5F-22D1-405B-A7D4-AE7A1FC6F014}" srcOrd="0" destOrd="0" presId="urn:microsoft.com/office/officeart/2005/8/layout/hierarchy1"/>
    <dgm:cxn modelId="{9DF37ECE-5EA4-4BDF-93F3-7B590A3D3887}" srcId="{9EE8F96C-0896-45A1-880C-823CFFCB46E5}" destId="{C06194D6-E6A9-425F-9B19-88285F0EC1D1}" srcOrd="1" destOrd="0" parTransId="{FB30153A-1166-4656-BC57-3040647E351D}" sibTransId="{04325757-056D-4478-BEFF-44FCEE6D4E70}"/>
    <dgm:cxn modelId="{057EA30F-6290-43D7-955C-109F722019D3}" type="presParOf" srcId="{2B60F6AB-2C53-4427-9BD0-D10480A11957}" destId="{19FF4073-F0A0-4034-9C16-D868067D9FF6}" srcOrd="0" destOrd="0" presId="urn:microsoft.com/office/officeart/2005/8/layout/hierarchy1"/>
    <dgm:cxn modelId="{B59D0974-A294-470E-BE36-A7F0226B605D}" type="presParOf" srcId="{19FF4073-F0A0-4034-9C16-D868067D9FF6}" destId="{FA22385F-69A0-4E78-A109-32813C9B77BC}" srcOrd="0" destOrd="0" presId="urn:microsoft.com/office/officeart/2005/8/layout/hierarchy1"/>
    <dgm:cxn modelId="{05AC238B-B64A-41FB-AAC5-6CA7AA8DD22B}" type="presParOf" srcId="{FA22385F-69A0-4E78-A109-32813C9B77BC}" destId="{D51591E1-51A9-46BA-9B0E-8256BD879458}" srcOrd="0" destOrd="0" presId="urn:microsoft.com/office/officeart/2005/8/layout/hierarchy1"/>
    <dgm:cxn modelId="{39E4446E-C13B-4C11-B5EB-666704E129B6}" type="presParOf" srcId="{FA22385F-69A0-4E78-A109-32813C9B77BC}" destId="{07CD4A5F-22D1-405B-A7D4-AE7A1FC6F014}" srcOrd="1" destOrd="0" presId="urn:microsoft.com/office/officeart/2005/8/layout/hierarchy1"/>
    <dgm:cxn modelId="{11F2334D-1F6C-4A64-A8A1-23C85A3FA6AC}" type="presParOf" srcId="{19FF4073-F0A0-4034-9C16-D868067D9FF6}" destId="{E626D103-249A-4706-940A-646FA85E80F3}" srcOrd="1" destOrd="0" presId="urn:microsoft.com/office/officeart/2005/8/layout/hierarchy1"/>
    <dgm:cxn modelId="{EE1D9F54-7B11-4377-A1FD-B351FAEFA8D1}" type="presParOf" srcId="{E626D103-249A-4706-940A-646FA85E80F3}" destId="{36BACD7D-AD9B-47D3-8EF9-31265486257E}" srcOrd="0" destOrd="0" presId="urn:microsoft.com/office/officeart/2005/8/layout/hierarchy1"/>
    <dgm:cxn modelId="{F46D07FD-9B18-4154-AE0E-C99BFD3E8388}" type="presParOf" srcId="{E626D103-249A-4706-940A-646FA85E80F3}" destId="{D3568E55-D4FF-41C7-A960-74938F0F30D0}" srcOrd="1" destOrd="0" presId="urn:microsoft.com/office/officeart/2005/8/layout/hierarchy1"/>
    <dgm:cxn modelId="{59EA3D77-264C-4CE6-8D39-F1C27DAEA255}" type="presParOf" srcId="{D3568E55-D4FF-41C7-A960-74938F0F30D0}" destId="{01676FE6-9626-4379-B678-2EEC41E56683}" srcOrd="0" destOrd="0" presId="urn:microsoft.com/office/officeart/2005/8/layout/hierarchy1"/>
    <dgm:cxn modelId="{2A87F7B0-BCE4-4642-AABE-DF744BDA00FE}" type="presParOf" srcId="{01676FE6-9626-4379-B678-2EEC41E56683}" destId="{DA95CF08-1727-4A80-AADA-AF0267804F38}" srcOrd="0" destOrd="0" presId="urn:microsoft.com/office/officeart/2005/8/layout/hierarchy1"/>
    <dgm:cxn modelId="{604321DB-69EA-4B91-BFCC-1866726E62FE}" type="presParOf" srcId="{01676FE6-9626-4379-B678-2EEC41E56683}" destId="{F2804261-15F1-48E3-ABAE-91A8ED357BFC}" srcOrd="1" destOrd="0" presId="urn:microsoft.com/office/officeart/2005/8/layout/hierarchy1"/>
    <dgm:cxn modelId="{EF40EBB1-AB0D-4C97-BEF9-216E4EC8FD1E}" type="presParOf" srcId="{D3568E55-D4FF-41C7-A960-74938F0F30D0}" destId="{8F62277A-8691-44C3-AFFC-6E4E6ECA2ABE}" srcOrd="1" destOrd="0" presId="urn:microsoft.com/office/officeart/2005/8/layout/hierarchy1"/>
    <dgm:cxn modelId="{B851D126-6BFB-4A79-BC45-1CE1AD828674}" type="presParOf" srcId="{8F62277A-8691-44C3-AFFC-6E4E6ECA2ABE}" destId="{E16D4E20-ECAA-4F04-BFB2-82A1242B1A3C}" srcOrd="0" destOrd="0" presId="urn:microsoft.com/office/officeart/2005/8/layout/hierarchy1"/>
    <dgm:cxn modelId="{0D21D3AA-EA98-4AC1-AEFD-1EBB8937FD6F}" type="presParOf" srcId="{8F62277A-8691-44C3-AFFC-6E4E6ECA2ABE}" destId="{2DD42CE7-C815-4054-8FA9-1D101BE07E50}" srcOrd="1" destOrd="0" presId="urn:microsoft.com/office/officeart/2005/8/layout/hierarchy1"/>
    <dgm:cxn modelId="{1D990EAC-8903-4FD0-9709-CE05417AE0D0}" type="presParOf" srcId="{2DD42CE7-C815-4054-8FA9-1D101BE07E50}" destId="{7003B5C1-84B9-4738-B63E-13D2954AA64C}" srcOrd="0" destOrd="0" presId="urn:microsoft.com/office/officeart/2005/8/layout/hierarchy1"/>
    <dgm:cxn modelId="{9C62DB87-FB95-49D0-94BA-FCCE2C00F0B0}" type="presParOf" srcId="{7003B5C1-84B9-4738-B63E-13D2954AA64C}" destId="{371FA2CB-8194-4E26-BCBF-2C9C0ACCFB80}" srcOrd="0" destOrd="0" presId="urn:microsoft.com/office/officeart/2005/8/layout/hierarchy1"/>
    <dgm:cxn modelId="{9BB90D69-AB07-4D44-9283-8FBEAB621A1E}" type="presParOf" srcId="{7003B5C1-84B9-4738-B63E-13D2954AA64C}" destId="{F5A70243-488E-452C-8B8A-F1FF8D0446C7}" srcOrd="1" destOrd="0" presId="urn:microsoft.com/office/officeart/2005/8/layout/hierarchy1"/>
    <dgm:cxn modelId="{72BD11DA-CD1F-4626-BCEE-0BFD57336997}" type="presParOf" srcId="{2DD42CE7-C815-4054-8FA9-1D101BE07E50}" destId="{F640EEA8-FBCF-4614-A5F7-C172CE325399}" srcOrd="1" destOrd="0" presId="urn:microsoft.com/office/officeart/2005/8/layout/hierarchy1"/>
    <dgm:cxn modelId="{18DEF12C-3917-4581-AC9F-960694677225}" type="presParOf" srcId="{8F62277A-8691-44C3-AFFC-6E4E6ECA2ABE}" destId="{07CE1916-F673-475A-A0D3-82087B5C0F4D}" srcOrd="2" destOrd="0" presId="urn:microsoft.com/office/officeart/2005/8/layout/hierarchy1"/>
    <dgm:cxn modelId="{F7C1E490-D04F-4686-BD45-CCE08334EFBF}" type="presParOf" srcId="{8F62277A-8691-44C3-AFFC-6E4E6ECA2ABE}" destId="{70659A6E-BF73-47AC-93A0-D71B53A62016}" srcOrd="3" destOrd="0" presId="urn:microsoft.com/office/officeart/2005/8/layout/hierarchy1"/>
    <dgm:cxn modelId="{FA43C62C-5216-4856-96EC-0966743D38E6}" type="presParOf" srcId="{70659A6E-BF73-47AC-93A0-D71B53A62016}" destId="{D143CBC4-8A48-4C64-9EB2-9A708016A014}" srcOrd="0" destOrd="0" presId="urn:microsoft.com/office/officeart/2005/8/layout/hierarchy1"/>
    <dgm:cxn modelId="{CA4F85A0-0444-423C-B4CD-3E7B1A81C16D}" type="presParOf" srcId="{D143CBC4-8A48-4C64-9EB2-9A708016A014}" destId="{CC70F977-2067-4190-8A28-593B291C7825}" srcOrd="0" destOrd="0" presId="urn:microsoft.com/office/officeart/2005/8/layout/hierarchy1"/>
    <dgm:cxn modelId="{39B3C282-F9A4-484F-A158-E7E38435606F}" type="presParOf" srcId="{D143CBC4-8A48-4C64-9EB2-9A708016A014}" destId="{428F8EE5-775A-41F8-A3A4-B9EAA54A7C14}" srcOrd="1" destOrd="0" presId="urn:microsoft.com/office/officeart/2005/8/layout/hierarchy1"/>
    <dgm:cxn modelId="{A4EF0273-AA0E-4D37-AFD4-BA46440D5E95}" type="presParOf" srcId="{70659A6E-BF73-47AC-93A0-D71B53A62016}" destId="{AD44ADC6-2FE8-482A-9923-719B6F7870B8}" srcOrd="1" destOrd="0" presId="urn:microsoft.com/office/officeart/2005/8/layout/hierarchy1"/>
    <dgm:cxn modelId="{1124E20B-ACF9-40F0-B58E-8B0F6CE5B9C7}" type="presParOf" srcId="{E626D103-249A-4706-940A-646FA85E80F3}" destId="{6B667659-536F-46B2-8A30-C170A47346B7}" srcOrd="2" destOrd="0" presId="urn:microsoft.com/office/officeart/2005/8/layout/hierarchy1"/>
    <dgm:cxn modelId="{A5399C28-CED7-436C-B981-EAB62414DA6A}" type="presParOf" srcId="{E626D103-249A-4706-940A-646FA85E80F3}" destId="{F6AEC61F-010A-435E-9E81-E20B60D9D4C6}" srcOrd="3" destOrd="0" presId="urn:microsoft.com/office/officeart/2005/8/layout/hierarchy1"/>
    <dgm:cxn modelId="{AD3552D1-5339-4442-94BF-C8D32FD53D94}" type="presParOf" srcId="{F6AEC61F-010A-435E-9E81-E20B60D9D4C6}" destId="{56AE444B-50C5-4903-8B22-08DDA069F6E0}" srcOrd="0" destOrd="0" presId="urn:microsoft.com/office/officeart/2005/8/layout/hierarchy1"/>
    <dgm:cxn modelId="{1948729E-9A56-44F0-9B45-4528704D4183}" type="presParOf" srcId="{56AE444B-50C5-4903-8B22-08DDA069F6E0}" destId="{16C97C11-516E-432A-9E4F-715787956126}" srcOrd="0" destOrd="0" presId="urn:microsoft.com/office/officeart/2005/8/layout/hierarchy1"/>
    <dgm:cxn modelId="{A17AD285-C99A-48A4-8B67-434968DC532E}" type="presParOf" srcId="{56AE444B-50C5-4903-8B22-08DDA069F6E0}" destId="{30D34D6A-88A0-49C7-8838-FCD832F11449}" srcOrd="1" destOrd="0" presId="urn:microsoft.com/office/officeart/2005/8/layout/hierarchy1"/>
    <dgm:cxn modelId="{11E39444-A85A-4264-BA83-FAF5D5BD08A3}" type="presParOf" srcId="{F6AEC61F-010A-435E-9E81-E20B60D9D4C6}" destId="{B694D087-60AE-4F45-84C9-2A37D80907EE}" srcOrd="1" destOrd="0" presId="urn:microsoft.com/office/officeart/2005/8/layout/hierarchy1"/>
    <dgm:cxn modelId="{E68B2087-F80B-43EE-9BD1-90DAC024E055}" type="presParOf" srcId="{B694D087-60AE-4F45-84C9-2A37D80907EE}" destId="{8F0BF264-E4EF-4E9E-BFED-B467DB80D1B4}" srcOrd="0" destOrd="0" presId="urn:microsoft.com/office/officeart/2005/8/layout/hierarchy1"/>
    <dgm:cxn modelId="{6AA4AE0D-D561-488F-899D-145190BF6416}" type="presParOf" srcId="{B694D087-60AE-4F45-84C9-2A37D80907EE}" destId="{0A45C155-729E-4C69-B389-35D87E8465A0}" srcOrd="1" destOrd="0" presId="urn:microsoft.com/office/officeart/2005/8/layout/hierarchy1"/>
    <dgm:cxn modelId="{A03CB1CA-5FC8-4E92-B4DA-A6E1D4A22777}" type="presParOf" srcId="{0A45C155-729E-4C69-B389-35D87E8465A0}" destId="{AB2836E2-99B2-47C8-8188-391C88158182}" srcOrd="0" destOrd="0" presId="urn:microsoft.com/office/officeart/2005/8/layout/hierarchy1"/>
    <dgm:cxn modelId="{99F67E6D-C40C-4AB6-9CD1-DD63E5268B05}" type="presParOf" srcId="{AB2836E2-99B2-47C8-8188-391C88158182}" destId="{9F16E53D-3794-415F-80C8-A290EBEE2001}" srcOrd="0" destOrd="0" presId="urn:microsoft.com/office/officeart/2005/8/layout/hierarchy1"/>
    <dgm:cxn modelId="{6FF1E246-C1E8-48A7-AC44-76E27F2B73CD}" type="presParOf" srcId="{AB2836E2-99B2-47C8-8188-391C88158182}" destId="{DF6478E6-33AE-4054-90E1-F68CA454C232}" srcOrd="1" destOrd="0" presId="urn:microsoft.com/office/officeart/2005/8/layout/hierarchy1"/>
    <dgm:cxn modelId="{5D77F7B8-59C9-463F-944D-5C65571036CD}" type="presParOf" srcId="{0A45C155-729E-4C69-B389-35D87E8465A0}" destId="{B40AD03A-7AC0-4200-A930-EEC299ECCBB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A9614A5-7333-4C40-A9F1-583713A10816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9EE8F96C-0896-45A1-880C-823CFFCB46E5}">
      <dgm:prSet phldrT="[Text]" phldr="1" custT="1"/>
      <dgm:spPr/>
      <dgm:t>
        <a:bodyPr/>
        <a:lstStyle/>
        <a:p>
          <a:endParaRPr lang="en-US" sz="1500"/>
        </a:p>
      </dgm:t>
    </dgm:pt>
    <dgm:pt modelId="{46B8F5E6-00F5-4073-832D-34F342D2DA5F}" type="parTrans" cxnId="{9A2B058F-9CCC-4F2E-AC6F-F605D459DF31}">
      <dgm:prSet/>
      <dgm:spPr/>
      <dgm:t>
        <a:bodyPr/>
        <a:lstStyle/>
        <a:p>
          <a:endParaRPr lang="en-US" sz="1500"/>
        </a:p>
      </dgm:t>
    </dgm:pt>
    <dgm:pt modelId="{81079CED-846E-413A-B413-801DED6E9847}" type="sibTrans" cxnId="{9A2B058F-9CCC-4F2E-AC6F-F605D459DF31}">
      <dgm:prSet/>
      <dgm:spPr/>
      <dgm:t>
        <a:bodyPr/>
        <a:lstStyle/>
        <a:p>
          <a:endParaRPr lang="en-US" sz="1500"/>
        </a:p>
      </dgm:t>
    </dgm:pt>
    <dgm:pt modelId="{449ACB01-4837-4A83-8D73-2A878EC7DED9}">
      <dgm:prSet phldrT="[Text]" phldr="1" custT="1"/>
      <dgm:spPr/>
      <dgm:t>
        <a:bodyPr/>
        <a:lstStyle/>
        <a:p>
          <a:endParaRPr lang="en-US" sz="1500"/>
        </a:p>
      </dgm:t>
    </dgm:pt>
    <dgm:pt modelId="{16277B5F-71FE-4972-89D3-C4FEC0EDCECD}" type="parTrans" cxnId="{E12A5C8B-4FDA-45ED-854A-781CAE8674BE}">
      <dgm:prSet/>
      <dgm:spPr/>
      <dgm:t>
        <a:bodyPr/>
        <a:lstStyle/>
        <a:p>
          <a:endParaRPr lang="en-US" sz="1500"/>
        </a:p>
      </dgm:t>
    </dgm:pt>
    <dgm:pt modelId="{F113E866-3703-4B99-B0D3-8341E86E5190}" type="sibTrans" cxnId="{E12A5C8B-4FDA-45ED-854A-781CAE8674BE}">
      <dgm:prSet/>
      <dgm:spPr/>
      <dgm:t>
        <a:bodyPr/>
        <a:lstStyle/>
        <a:p>
          <a:endParaRPr lang="en-US" sz="1500"/>
        </a:p>
      </dgm:t>
    </dgm:pt>
    <dgm:pt modelId="{C06194D6-E6A9-425F-9B19-88285F0EC1D1}">
      <dgm:prSet phldrT="[Text]" phldr="1" custT="1"/>
      <dgm:spPr/>
      <dgm:t>
        <a:bodyPr/>
        <a:lstStyle/>
        <a:p>
          <a:endParaRPr lang="en-US" sz="1500"/>
        </a:p>
      </dgm:t>
    </dgm:pt>
    <dgm:pt modelId="{FB30153A-1166-4656-BC57-3040647E351D}" type="parTrans" cxnId="{9DF37ECE-5EA4-4BDF-93F3-7B590A3D3887}">
      <dgm:prSet/>
      <dgm:spPr/>
      <dgm:t>
        <a:bodyPr/>
        <a:lstStyle/>
        <a:p>
          <a:endParaRPr lang="en-US" sz="1500"/>
        </a:p>
      </dgm:t>
    </dgm:pt>
    <dgm:pt modelId="{04325757-056D-4478-BEFF-44FCEE6D4E70}" type="sibTrans" cxnId="{9DF37ECE-5EA4-4BDF-93F3-7B590A3D3887}">
      <dgm:prSet/>
      <dgm:spPr/>
      <dgm:t>
        <a:bodyPr/>
        <a:lstStyle/>
        <a:p>
          <a:endParaRPr lang="en-US" sz="1500"/>
        </a:p>
      </dgm:t>
    </dgm:pt>
    <dgm:pt modelId="{2B60F6AB-2C53-4427-9BD0-D10480A11957}" type="pres">
      <dgm:prSet presAssocID="{5A9614A5-7333-4C40-A9F1-583713A1081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9FF4073-F0A0-4034-9C16-D868067D9FF6}" type="pres">
      <dgm:prSet presAssocID="{9EE8F96C-0896-45A1-880C-823CFFCB46E5}" presName="hierRoot1" presStyleCnt="0"/>
      <dgm:spPr/>
    </dgm:pt>
    <dgm:pt modelId="{FA22385F-69A0-4E78-A109-32813C9B77BC}" type="pres">
      <dgm:prSet presAssocID="{9EE8F96C-0896-45A1-880C-823CFFCB46E5}" presName="composite" presStyleCnt="0"/>
      <dgm:spPr/>
    </dgm:pt>
    <dgm:pt modelId="{D51591E1-51A9-46BA-9B0E-8256BD879458}" type="pres">
      <dgm:prSet presAssocID="{9EE8F96C-0896-45A1-880C-823CFFCB46E5}" presName="background" presStyleLbl="node0" presStyleIdx="0" presStyleCnt="1"/>
      <dgm:spPr/>
    </dgm:pt>
    <dgm:pt modelId="{07CD4A5F-22D1-405B-A7D4-AE7A1FC6F014}" type="pres">
      <dgm:prSet presAssocID="{9EE8F96C-0896-45A1-880C-823CFFCB46E5}" presName="text" presStyleLbl="fgAcc0" presStyleIdx="0" presStyleCnt="1">
        <dgm:presLayoutVars>
          <dgm:chPref val="3"/>
        </dgm:presLayoutVars>
      </dgm:prSet>
      <dgm:spPr/>
    </dgm:pt>
    <dgm:pt modelId="{E626D103-249A-4706-940A-646FA85E80F3}" type="pres">
      <dgm:prSet presAssocID="{9EE8F96C-0896-45A1-880C-823CFFCB46E5}" presName="hierChild2" presStyleCnt="0"/>
      <dgm:spPr/>
    </dgm:pt>
    <dgm:pt modelId="{36BACD7D-AD9B-47D3-8EF9-31265486257E}" type="pres">
      <dgm:prSet presAssocID="{16277B5F-71FE-4972-89D3-C4FEC0EDCECD}" presName="Name10" presStyleLbl="parChTrans1D2" presStyleIdx="0" presStyleCnt="2"/>
      <dgm:spPr/>
    </dgm:pt>
    <dgm:pt modelId="{D3568E55-D4FF-41C7-A960-74938F0F30D0}" type="pres">
      <dgm:prSet presAssocID="{449ACB01-4837-4A83-8D73-2A878EC7DED9}" presName="hierRoot2" presStyleCnt="0"/>
      <dgm:spPr/>
    </dgm:pt>
    <dgm:pt modelId="{01676FE6-9626-4379-B678-2EEC41E56683}" type="pres">
      <dgm:prSet presAssocID="{449ACB01-4837-4A83-8D73-2A878EC7DED9}" presName="composite2" presStyleCnt="0"/>
      <dgm:spPr/>
    </dgm:pt>
    <dgm:pt modelId="{DA95CF08-1727-4A80-AADA-AF0267804F38}" type="pres">
      <dgm:prSet presAssocID="{449ACB01-4837-4A83-8D73-2A878EC7DED9}" presName="background2" presStyleLbl="node2" presStyleIdx="0" presStyleCnt="2"/>
      <dgm:spPr/>
    </dgm:pt>
    <dgm:pt modelId="{F2804261-15F1-48E3-ABAE-91A8ED357BFC}" type="pres">
      <dgm:prSet presAssocID="{449ACB01-4837-4A83-8D73-2A878EC7DED9}" presName="text2" presStyleLbl="fgAcc2" presStyleIdx="0" presStyleCnt="2">
        <dgm:presLayoutVars>
          <dgm:chPref val="3"/>
        </dgm:presLayoutVars>
      </dgm:prSet>
      <dgm:spPr/>
    </dgm:pt>
    <dgm:pt modelId="{8F62277A-8691-44C3-AFFC-6E4E6ECA2ABE}" type="pres">
      <dgm:prSet presAssocID="{449ACB01-4837-4A83-8D73-2A878EC7DED9}" presName="hierChild3" presStyleCnt="0"/>
      <dgm:spPr/>
    </dgm:pt>
    <dgm:pt modelId="{6B667659-536F-46B2-8A30-C170A47346B7}" type="pres">
      <dgm:prSet presAssocID="{FB30153A-1166-4656-BC57-3040647E351D}" presName="Name10" presStyleLbl="parChTrans1D2" presStyleIdx="1" presStyleCnt="2"/>
      <dgm:spPr/>
    </dgm:pt>
    <dgm:pt modelId="{F6AEC61F-010A-435E-9E81-E20B60D9D4C6}" type="pres">
      <dgm:prSet presAssocID="{C06194D6-E6A9-425F-9B19-88285F0EC1D1}" presName="hierRoot2" presStyleCnt="0"/>
      <dgm:spPr/>
    </dgm:pt>
    <dgm:pt modelId="{56AE444B-50C5-4903-8B22-08DDA069F6E0}" type="pres">
      <dgm:prSet presAssocID="{C06194D6-E6A9-425F-9B19-88285F0EC1D1}" presName="composite2" presStyleCnt="0"/>
      <dgm:spPr/>
    </dgm:pt>
    <dgm:pt modelId="{16C97C11-516E-432A-9E4F-715787956126}" type="pres">
      <dgm:prSet presAssocID="{C06194D6-E6A9-425F-9B19-88285F0EC1D1}" presName="background2" presStyleLbl="node2" presStyleIdx="1" presStyleCnt="2"/>
      <dgm:spPr/>
    </dgm:pt>
    <dgm:pt modelId="{30D34D6A-88A0-49C7-8838-FCD832F11449}" type="pres">
      <dgm:prSet presAssocID="{C06194D6-E6A9-425F-9B19-88285F0EC1D1}" presName="text2" presStyleLbl="fgAcc2" presStyleIdx="1" presStyleCnt="2">
        <dgm:presLayoutVars>
          <dgm:chPref val="3"/>
        </dgm:presLayoutVars>
      </dgm:prSet>
      <dgm:spPr/>
    </dgm:pt>
    <dgm:pt modelId="{B694D087-60AE-4F45-84C9-2A37D80907EE}" type="pres">
      <dgm:prSet presAssocID="{C06194D6-E6A9-425F-9B19-88285F0EC1D1}" presName="hierChild3" presStyleCnt="0"/>
      <dgm:spPr/>
    </dgm:pt>
  </dgm:ptLst>
  <dgm:cxnLst>
    <dgm:cxn modelId="{A1CDC419-E8A3-44F5-9152-DD402AFAEEA3}" type="presOf" srcId="{16277B5F-71FE-4972-89D3-C4FEC0EDCECD}" destId="{36BACD7D-AD9B-47D3-8EF9-31265486257E}" srcOrd="0" destOrd="0" presId="urn:microsoft.com/office/officeart/2005/8/layout/hierarchy1"/>
    <dgm:cxn modelId="{F4586E1B-95A6-4107-99B3-E1234F8DCF2F}" type="presOf" srcId="{449ACB01-4837-4A83-8D73-2A878EC7DED9}" destId="{F2804261-15F1-48E3-ABAE-91A8ED357BFC}" srcOrd="0" destOrd="0" presId="urn:microsoft.com/office/officeart/2005/8/layout/hierarchy1"/>
    <dgm:cxn modelId="{7437722A-5BF1-47B8-8FE8-B17858AB6B2F}" type="presOf" srcId="{5A9614A5-7333-4C40-A9F1-583713A10816}" destId="{2B60F6AB-2C53-4427-9BD0-D10480A11957}" srcOrd="0" destOrd="0" presId="urn:microsoft.com/office/officeart/2005/8/layout/hierarchy1"/>
    <dgm:cxn modelId="{FF8DB72E-25D4-41AC-9551-1A109C8C25F3}" type="presOf" srcId="{C06194D6-E6A9-425F-9B19-88285F0EC1D1}" destId="{30D34D6A-88A0-49C7-8838-FCD832F11449}" srcOrd="0" destOrd="0" presId="urn:microsoft.com/office/officeart/2005/8/layout/hierarchy1"/>
    <dgm:cxn modelId="{B7CFB03F-8044-4AE8-973E-AD32E8FA80C4}" type="presOf" srcId="{FB30153A-1166-4656-BC57-3040647E351D}" destId="{6B667659-536F-46B2-8A30-C170A47346B7}" srcOrd="0" destOrd="0" presId="urn:microsoft.com/office/officeart/2005/8/layout/hierarchy1"/>
    <dgm:cxn modelId="{E12A5C8B-4FDA-45ED-854A-781CAE8674BE}" srcId="{9EE8F96C-0896-45A1-880C-823CFFCB46E5}" destId="{449ACB01-4837-4A83-8D73-2A878EC7DED9}" srcOrd="0" destOrd="0" parTransId="{16277B5F-71FE-4972-89D3-C4FEC0EDCECD}" sibTransId="{F113E866-3703-4B99-B0D3-8341E86E5190}"/>
    <dgm:cxn modelId="{9A2B058F-9CCC-4F2E-AC6F-F605D459DF31}" srcId="{5A9614A5-7333-4C40-A9F1-583713A10816}" destId="{9EE8F96C-0896-45A1-880C-823CFFCB46E5}" srcOrd="0" destOrd="0" parTransId="{46B8F5E6-00F5-4073-832D-34F342D2DA5F}" sibTransId="{81079CED-846E-413A-B413-801DED6E9847}"/>
    <dgm:cxn modelId="{DE4634BA-C3A3-454F-9D96-FD4E353E25C9}" type="presOf" srcId="{9EE8F96C-0896-45A1-880C-823CFFCB46E5}" destId="{07CD4A5F-22D1-405B-A7D4-AE7A1FC6F014}" srcOrd="0" destOrd="0" presId="urn:microsoft.com/office/officeart/2005/8/layout/hierarchy1"/>
    <dgm:cxn modelId="{9DF37ECE-5EA4-4BDF-93F3-7B590A3D3887}" srcId="{9EE8F96C-0896-45A1-880C-823CFFCB46E5}" destId="{C06194D6-E6A9-425F-9B19-88285F0EC1D1}" srcOrd="1" destOrd="0" parTransId="{FB30153A-1166-4656-BC57-3040647E351D}" sibTransId="{04325757-056D-4478-BEFF-44FCEE6D4E70}"/>
    <dgm:cxn modelId="{057EA30F-6290-43D7-955C-109F722019D3}" type="presParOf" srcId="{2B60F6AB-2C53-4427-9BD0-D10480A11957}" destId="{19FF4073-F0A0-4034-9C16-D868067D9FF6}" srcOrd="0" destOrd="0" presId="urn:microsoft.com/office/officeart/2005/8/layout/hierarchy1"/>
    <dgm:cxn modelId="{B59D0974-A294-470E-BE36-A7F0226B605D}" type="presParOf" srcId="{19FF4073-F0A0-4034-9C16-D868067D9FF6}" destId="{FA22385F-69A0-4E78-A109-32813C9B77BC}" srcOrd="0" destOrd="0" presId="urn:microsoft.com/office/officeart/2005/8/layout/hierarchy1"/>
    <dgm:cxn modelId="{05AC238B-B64A-41FB-AAC5-6CA7AA8DD22B}" type="presParOf" srcId="{FA22385F-69A0-4E78-A109-32813C9B77BC}" destId="{D51591E1-51A9-46BA-9B0E-8256BD879458}" srcOrd="0" destOrd="0" presId="urn:microsoft.com/office/officeart/2005/8/layout/hierarchy1"/>
    <dgm:cxn modelId="{39E4446E-C13B-4C11-B5EB-666704E129B6}" type="presParOf" srcId="{FA22385F-69A0-4E78-A109-32813C9B77BC}" destId="{07CD4A5F-22D1-405B-A7D4-AE7A1FC6F014}" srcOrd="1" destOrd="0" presId="urn:microsoft.com/office/officeart/2005/8/layout/hierarchy1"/>
    <dgm:cxn modelId="{11F2334D-1F6C-4A64-A8A1-23C85A3FA6AC}" type="presParOf" srcId="{19FF4073-F0A0-4034-9C16-D868067D9FF6}" destId="{E626D103-249A-4706-940A-646FA85E80F3}" srcOrd="1" destOrd="0" presId="urn:microsoft.com/office/officeart/2005/8/layout/hierarchy1"/>
    <dgm:cxn modelId="{EE1D9F54-7B11-4377-A1FD-B351FAEFA8D1}" type="presParOf" srcId="{E626D103-249A-4706-940A-646FA85E80F3}" destId="{36BACD7D-AD9B-47D3-8EF9-31265486257E}" srcOrd="0" destOrd="0" presId="urn:microsoft.com/office/officeart/2005/8/layout/hierarchy1"/>
    <dgm:cxn modelId="{F46D07FD-9B18-4154-AE0E-C99BFD3E8388}" type="presParOf" srcId="{E626D103-249A-4706-940A-646FA85E80F3}" destId="{D3568E55-D4FF-41C7-A960-74938F0F30D0}" srcOrd="1" destOrd="0" presId="urn:microsoft.com/office/officeart/2005/8/layout/hierarchy1"/>
    <dgm:cxn modelId="{59EA3D77-264C-4CE6-8D39-F1C27DAEA255}" type="presParOf" srcId="{D3568E55-D4FF-41C7-A960-74938F0F30D0}" destId="{01676FE6-9626-4379-B678-2EEC41E56683}" srcOrd="0" destOrd="0" presId="urn:microsoft.com/office/officeart/2005/8/layout/hierarchy1"/>
    <dgm:cxn modelId="{2A87F7B0-BCE4-4642-AABE-DF744BDA00FE}" type="presParOf" srcId="{01676FE6-9626-4379-B678-2EEC41E56683}" destId="{DA95CF08-1727-4A80-AADA-AF0267804F38}" srcOrd="0" destOrd="0" presId="urn:microsoft.com/office/officeart/2005/8/layout/hierarchy1"/>
    <dgm:cxn modelId="{604321DB-69EA-4B91-BFCC-1866726E62FE}" type="presParOf" srcId="{01676FE6-9626-4379-B678-2EEC41E56683}" destId="{F2804261-15F1-48E3-ABAE-91A8ED357BFC}" srcOrd="1" destOrd="0" presId="urn:microsoft.com/office/officeart/2005/8/layout/hierarchy1"/>
    <dgm:cxn modelId="{EF40EBB1-AB0D-4C97-BEF9-216E4EC8FD1E}" type="presParOf" srcId="{D3568E55-D4FF-41C7-A960-74938F0F30D0}" destId="{8F62277A-8691-44C3-AFFC-6E4E6ECA2ABE}" srcOrd="1" destOrd="0" presId="urn:microsoft.com/office/officeart/2005/8/layout/hierarchy1"/>
    <dgm:cxn modelId="{1124E20B-ACF9-40F0-B58E-8B0F6CE5B9C7}" type="presParOf" srcId="{E626D103-249A-4706-940A-646FA85E80F3}" destId="{6B667659-536F-46B2-8A30-C170A47346B7}" srcOrd="2" destOrd="0" presId="urn:microsoft.com/office/officeart/2005/8/layout/hierarchy1"/>
    <dgm:cxn modelId="{A5399C28-CED7-436C-B981-EAB62414DA6A}" type="presParOf" srcId="{E626D103-249A-4706-940A-646FA85E80F3}" destId="{F6AEC61F-010A-435E-9E81-E20B60D9D4C6}" srcOrd="3" destOrd="0" presId="urn:microsoft.com/office/officeart/2005/8/layout/hierarchy1"/>
    <dgm:cxn modelId="{AD3552D1-5339-4442-94BF-C8D32FD53D94}" type="presParOf" srcId="{F6AEC61F-010A-435E-9E81-E20B60D9D4C6}" destId="{56AE444B-50C5-4903-8B22-08DDA069F6E0}" srcOrd="0" destOrd="0" presId="urn:microsoft.com/office/officeart/2005/8/layout/hierarchy1"/>
    <dgm:cxn modelId="{1948729E-9A56-44F0-9B45-4528704D4183}" type="presParOf" srcId="{56AE444B-50C5-4903-8B22-08DDA069F6E0}" destId="{16C97C11-516E-432A-9E4F-715787956126}" srcOrd="0" destOrd="0" presId="urn:microsoft.com/office/officeart/2005/8/layout/hierarchy1"/>
    <dgm:cxn modelId="{A17AD285-C99A-48A4-8B67-434968DC532E}" type="presParOf" srcId="{56AE444B-50C5-4903-8B22-08DDA069F6E0}" destId="{30D34D6A-88A0-49C7-8838-FCD832F11449}" srcOrd="1" destOrd="0" presId="urn:microsoft.com/office/officeart/2005/8/layout/hierarchy1"/>
    <dgm:cxn modelId="{11E39444-A85A-4264-BA83-FAF5D5BD08A3}" type="presParOf" srcId="{F6AEC61F-010A-435E-9E81-E20B60D9D4C6}" destId="{B694D087-60AE-4F45-84C9-2A37D80907E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A9614A5-7333-4C40-A9F1-583713A10816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E8F96C-0896-45A1-880C-823CFFCB46E5}">
      <dgm:prSet phldrT="[Text]" phldr="1" custT="1"/>
      <dgm:spPr/>
      <dgm:t>
        <a:bodyPr/>
        <a:lstStyle/>
        <a:p>
          <a:endParaRPr lang="en-US" sz="1500"/>
        </a:p>
      </dgm:t>
    </dgm:pt>
    <dgm:pt modelId="{46B8F5E6-00F5-4073-832D-34F342D2DA5F}" type="parTrans" cxnId="{9A2B058F-9CCC-4F2E-AC6F-F605D459DF31}">
      <dgm:prSet/>
      <dgm:spPr/>
      <dgm:t>
        <a:bodyPr/>
        <a:lstStyle/>
        <a:p>
          <a:endParaRPr lang="en-US" sz="1500"/>
        </a:p>
      </dgm:t>
    </dgm:pt>
    <dgm:pt modelId="{81079CED-846E-413A-B413-801DED6E9847}" type="sibTrans" cxnId="{9A2B058F-9CCC-4F2E-AC6F-F605D459DF31}">
      <dgm:prSet/>
      <dgm:spPr/>
      <dgm:t>
        <a:bodyPr/>
        <a:lstStyle/>
        <a:p>
          <a:endParaRPr lang="en-US" sz="1500"/>
        </a:p>
      </dgm:t>
    </dgm:pt>
    <dgm:pt modelId="{449ACB01-4837-4A83-8D73-2A878EC7DED9}">
      <dgm:prSet phldrT="[Text]" phldr="1" custT="1"/>
      <dgm:spPr/>
      <dgm:t>
        <a:bodyPr/>
        <a:lstStyle/>
        <a:p>
          <a:endParaRPr lang="en-US" sz="1500"/>
        </a:p>
      </dgm:t>
    </dgm:pt>
    <dgm:pt modelId="{16277B5F-71FE-4972-89D3-C4FEC0EDCECD}" type="parTrans" cxnId="{E12A5C8B-4FDA-45ED-854A-781CAE8674BE}">
      <dgm:prSet/>
      <dgm:spPr/>
      <dgm:t>
        <a:bodyPr/>
        <a:lstStyle/>
        <a:p>
          <a:endParaRPr lang="en-US" sz="1500"/>
        </a:p>
      </dgm:t>
    </dgm:pt>
    <dgm:pt modelId="{F113E866-3703-4B99-B0D3-8341E86E5190}" type="sibTrans" cxnId="{E12A5C8B-4FDA-45ED-854A-781CAE8674BE}">
      <dgm:prSet/>
      <dgm:spPr/>
      <dgm:t>
        <a:bodyPr/>
        <a:lstStyle/>
        <a:p>
          <a:endParaRPr lang="en-US" sz="1500"/>
        </a:p>
      </dgm:t>
    </dgm:pt>
    <dgm:pt modelId="{C06194D6-E6A9-425F-9B19-88285F0EC1D1}">
      <dgm:prSet phldrT="[Text]" phldr="1" custT="1"/>
      <dgm:spPr/>
      <dgm:t>
        <a:bodyPr/>
        <a:lstStyle/>
        <a:p>
          <a:endParaRPr lang="en-US" sz="1500"/>
        </a:p>
      </dgm:t>
    </dgm:pt>
    <dgm:pt modelId="{FB30153A-1166-4656-BC57-3040647E351D}" type="parTrans" cxnId="{9DF37ECE-5EA4-4BDF-93F3-7B590A3D3887}">
      <dgm:prSet/>
      <dgm:spPr/>
      <dgm:t>
        <a:bodyPr/>
        <a:lstStyle/>
        <a:p>
          <a:endParaRPr lang="en-US" sz="1500"/>
        </a:p>
      </dgm:t>
    </dgm:pt>
    <dgm:pt modelId="{04325757-056D-4478-BEFF-44FCEE6D4E70}" type="sibTrans" cxnId="{9DF37ECE-5EA4-4BDF-93F3-7B590A3D3887}">
      <dgm:prSet/>
      <dgm:spPr/>
      <dgm:t>
        <a:bodyPr/>
        <a:lstStyle/>
        <a:p>
          <a:endParaRPr lang="en-US" sz="1500"/>
        </a:p>
      </dgm:t>
    </dgm:pt>
    <dgm:pt modelId="{1A21D708-D078-43E2-9030-8A4A38C47019}">
      <dgm:prSet custT="1"/>
      <dgm:spPr/>
      <dgm:t>
        <a:bodyPr/>
        <a:lstStyle/>
        <a:p>
          <a:r>
            <a:rPr lang="en-US" sz="1500"/>
            <a:t>[Text]</a:t>
          </a:r>
        </a:p>
      </dgm:t>
    </dgm:pt>
    <dgm:pt modelId="{34B0260E-6133-4609-9CEE-BC26CB1C98A7}" type="parTrans" cxnId="{6D288B13-112A-4BEA-B8CC-793B3ED6D9D9}">
      <dgm:prSet/>
      <dgm:spPr/>
      <dgm:t>
        <a:bodyPr/>
        <a:lstStyle/>
        <a:p>
          <a:endParaRPr lang="en-US" sz="1500"/>
        </a:p>
      </dgm:t>
    </dgm:pt>
    <dgm:pt modelId="{08AFD29C-C120-4AA2-B296-B41ED0A4B409}" type="sibTrans" cxnId="{6D288B13-112A-4BEA-B8CC-793B3ED6D9D9}">
      <dgm:prSet/>
      <dgm:spPr/>
      <dgm:t>
        <a:bodyPr/>
        <a:lstStyle/>
        <a:p>
          <a:endParaRPr lang="en-US" sz="1500"/>
        </a:p>
      </dgm:t>
    </dgm:pt>
    <dgm:pt modelId="{2B60F6AB-2C53-4427-9BD0-D10480A11957}" type="pres">
      <dgm:prSet presAssocID="{5A9614A5-7333-4C40-A9F1-583713A10816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9FF4073-F0A0-4034-9C16-D868067D9FF6}" type="pres">
      <dgm:prSet presAssocID="{9EE8F96C-0896-45A1-880C-823CFFCB46E5}" presName="hierRoot1" presStyleCnt="0"/>
      <dgm:spPr/>
    </dgm:pt>
    <dgm:pt modelId="{FA22385F-69A0-4E78-A109-32813C9B77BC}" type="pres">
      <dgm:prSet presAssocID="{9EE8F96C-0896-45A1-880C-823CFFCB46E5}" presName="composite" presStyleCnt="0"/>
      <dgm:spPr/>
    </dgm:pt>
    <dgm:pt modelId="{D51591E1-51A9-46BA-9B0E-8256BD879458}" type="pres">
      <dgm:prSet presAssocID="{9EE8F96C-0896-45A1-880C-823CFFCB46E5}" presName="background" presStyleLbl="node0" presStyleIdx="0" presStyleCnt="1"/>
      <dgm:spPr/>
    </dgm:pt>
    <dgm:pt modelId="{07CD4A5F-22D1-405B-A7D4-AE7A1FC6F014}" type="pres">
      <dgm:prSet presAssocID="{9EE8F96C-0896-45A1-880C-823CFFCB46E5}" presName="text" presStyleLbl="fgAcc0" presStyleIdx="0" presStyleCnt="1">
        <dgm:presLayoutVars>
          <dgm:chPref val="3"/>
        </dgm:presLayoutVars>
      </dgm:prSet>
      <dgm:spPr/>
    </dgm:pt>
    <dgm:pt modelId="{E626D103-249A-4706-940A-646FA85E80F3}" type="pres">
      <dgm:prSet presAssocID="{9EE8F96C-0896-45A1-880C-823CFFCB46E5}" presName="hierChild2" presStyleCnt="0"/>
      <dgm:spPr/>
    </dgm:pt>
    <dgm:pt modelId="{36BACD7D-AD9B-47D3-8EF9-31265486257E}" type="pres">
      <dgm:prSet presAssocID="{16277B5F-71FE-4972-89D3-C4FEC0EDCECD}" presName="Name10" presStyleLbl="parChTrans1D2" presStyleIdx="0" presStyleCnt="3"/>
      <dgm:spPr/>
    </dgm:pt>
    <dgm:pt modelId="{D3568E55-D4FF-41C7-A960-74938F0F30D0}" type="pres">
      <dgm:prSet presAssocID="{449ACB01-4837-4A83-8D73-2A878EC7DED9}" presName="hierRoot2" presStyleCnt="0"/>
      <dgm:spPr/>
    </dgm:pt>
    <dgm:pt modelId="{01676FE6-9626-4379-B678-2EEC41E56683}" type="pres">
      <dgm:prSet presAssocID="{449ACB01-4837-4A83-8D73-2A878EC7DED9}" presName="composite2" presStyleCnt="0"/>
      <dgm:spPr/>
    </dgm:pt>
    <dgm:pt modelId="{DA95CF08-1727-4A80-AADA-AF0267804F38}" type="pres">
      <dgm:prSet presAssocID="{449ACB01-4837-4A83-8D73-2A878EC7DED9}" presName="background2" presStyleLbl="node2" presStyleIdx="0" presStyleCnt="3"/>
      <dgm:spPr/>
    </dgm:pt>
    <dgm:pt modelId="{F2804261-15F1-48E3-ABAE-91A8ED357BFC}" type="pres">
      <dgm:prSet presAssocID="{449ACB01-4837-4A83-8D73-2A878EC7DED9}" presName="text2" presStyleLbl="fgAcc2" presStyleIdx="0" presStyleCnt="3">
        <dgm:presLayoutVars>
          <dgm:chPref val="3"/>
        </dgm:presLayoutVars>
      </dgm:prSet>
      <dgm:spPr/>
    </dgm:pt>
    <dgm:pt modelId="{8F62277A-8691-44C3-AFFC-6E4E6ECA2ABE}" type="pres">
      <dgm:prSet presAssocID="{449ACB01-4837-4A83-8D73-2A878EC7DED9}" presName="hierChild3" presStyleCnt="0"/>
      <dgm:spPr/>
    </dgm:pt>
    <dgm:pt modelId="{6B667659-536F-46B2-8A30-C170A47346B7}" type="pres">
      <dgm:prSet presAssocID="{FB30153A-1166-4656-BC57-3040647E351D}" presName="Name10" presStyleLbl="parChTrans1D2" presStyleIdx="1" presStyleCnt="3"/>
      <dgm:spPr/>
    </dgm:pt>
    <dgm:pt modelId="{F6AEC61F-010A-435E-9E81-E20B60D9D4C6}" type="pres">
      <dgm:prSet presAssocID="{C06194D6-E6A9-425F-9B19-88285F0EC1D1}" presName="hierRoot2" presStyleCnt="0"/>
      <dgm:spPr/>
    </dgm:pt>
    <dgm:pt modelId="{56AE444B-50C5-4903-8B22-08DDA069F6E0}" type="pres">
      <dgm:prSet presAssocID="{C06194D6-E6A9-425F-9B19-88285F0EC1D1}" presName="composite2" presStyleCnt="0"/>
      <dgm:spPr/>
    </dgm:pt>
    <dgm:pt modelId="{16C97C11-516E-432A-9E4F-715787956126}" type="pres">
      <dgm:prSet presAssocID="{C06194D6-E6A9-425F-9B19-88285F0EC1D1}" presName="background2" presStyleLbl="node2" presStyleIdx="1" presStyleCnt="3"/>
      <dgm:spPr/>
    </dgm:pt>
    <dgm:pt modelId="{30D34D6A-88A0-49C7-8838-FCD832F11449}" type="pres">
      <dgm:prSet presAssocID="{C06194D6-E6A9-425F-9B19-88285F0EC1D1}" presName="text2" presStyleLbl="fgAcc2" presStyleIdx="1" presStyleCnt="3">
        <dgm:presLayoutVars>
          <dgm:chPref val="3"/>
        </dgm:presLayoutVars>
      </dgm:prSet>
      <dgm:spPr/>
    </dgm:pt>
    <dgm:pt modelId="{B694D087-60AE-4F45-84C9-2A37D80907EE}" type="pres">
      <dgm:prSet presAssocID="{C06194D6-E6A9-425F-9B19-88285F0EC1D1}" presName="hierChild3" presStyleCnt="0"/>
      <dgm:spPr/>
    </dgm:pt>
    <dgm:pt modelId="{97209A22-422D-4645-9672-2FB306F40C3B}" type="pres">
      <dgm:prSet presAssocID="{34B0260E-6133-4609-9CEE-BC26CB1C98A7}" presName="Name10" presStyleLbl="parChTrans1D2" presStyleIdx="2" presStyleCnt="3"/>
      <dgm:spPr/>
    </dgm:pt>
    <dgm:pt modelId="{95807EF3-EB0D-403E-A71B-3EF5A74114D6}" type="pres">
      <dgm:prSet presAssocID="{1A21D708-D078-43E2-9030-8A4A38C47019}" presName="hierRoot2" presStyleCnt="0"/>
      <dgm:spPr/>
    </dgm:pt>
    <dgm:pt modelId="{D4EB7259-2EED-4B97-9D4F-C26A1383F45F}" type="pres">
      <dgm:prSet presAssocID="{1A21D708-D078-43E2-9030-8A4A38C47019}" presName="composite2" presStyleCnt="0"/>
      <dgm:spPr/>
    </dgm:pt>
    <dgm:pt modelId="{843F3AD3-A895-42D2-8252-F6AFB47D5F0F}" type="pres">
      <dgm:prSet presAssocID="{1A21D708-D078-43E2-9030-8A4A38C47019}" presName="background2" presStyleLbl="node2" presStyleIdx="2" presStyleCnt="3"/>
      <dgm:spPr/>
    </dgm:pt>
    <dgm:pt modelId="{A78ACD05-B7E8-4D33-95CC-E7F98634FCAC}" type="pres">
      <dgm:prSet presAssocID="{1A21D708-D078-43E2-9030-8A4A38C47019}" presName="text2" presStyleLbl="fgAcc2" presStyleIdx="2" presStyleCnt="3">
        <dgm:presLayoutVars>
          <dgm:chPref val="3"/>
        </dgm:presLayoutVars>
      </dgm:prSet>
      <dgm:spPr/>
    </dgm:pt>
    <dgm:pt modelId="{79381F51-B24B-4B93-9C9C-F72FED49C6BE}" type="pres">
      <dgm:prSet presAssocID="{1A21D708-D078-43E2-9030-8A4A38C47019}" presName="hierChild3" presStyleCnt="0"/>
      <dgm:spPr/>
    </dgm:pt>
  </dgm:ptLst>
  <dgm:cxnLst>
    <dgm:cxn modelId="{FF240C13-7FFE-4F47-931E-09108915E152}" type="presOf" srcId="{34B0260E-6133-4609-9CEE-BC26CB1C98A7}" destId="{97209A22-422D-4645-9672-2FB306F40C3B}" srcOrd="0" destOrd="0" presId="urn:microsoft.com/office/officeart/2005/8/layout/hierarchy1"/>
    <dgm:cxn modelId="{6D288B13-112A-4BEA-B8CC-793B3ED6D9D9}" srcId="{9EE8F96C-0896-45A1-880C-823CFFCB46E5}" destId="{1A21D708-D078-43E2-9030-8A4A38C47019}" srcOrd="2" destOrd="0" parTransId="{34B0260E-6133-4609-9CEE-BC26CB1C98A7}" sibTransId="{08AFD29C-C120-4AA2-B296-B41ED0A4B409}"/>
    <dgm:cxn modelId="{A1CDC419-E8A3-44F5-9152-DD402AFAEEA3}" type="presOf" srcId="{16277B5F-71FE-4972-89D3-C4FEC0EDCECD}" destId="{36BACD7D-AD9B-47D3-8EF9-31265486257E}" srcOrd="0" destOrd="0" presId="urn:microsoft.com/office/officeart/2005/8/layout/hierarchy1"/>
    <dgm:cxn modelId="{F4586E1B-95A6-4107-99B3-E1234F8DCF2F}" type="presOf" srcId="{449ACB01-4837-4A83-8D73-2A878EC7DED9}" destId="{F2804261-15F1-48E3-ABAE-91A8ED357BFC}" srcOrd="0" destOrd="0" presId="urn:microsoft.com/office/officeart/2005/8/layout/hierarchy1"/>
    <dgm:cxn modelId="{7437722A-5BF1-47B8-8FE8-B17858AB6B2F}" type="presOf" srcId="{5A9614A5-7333-4C40-A9F1-583713A10816}" destId="{2B60F6AB-2C53-4427-9BD0-D10480A11957}" srcOrd="0" destOrd="0" presId="urn:microsoft.com/office/officeart/2005/8/layout/hierarchy1"/>
    <dgm:cxn modelId="{FF8DB72E-25D4-41AC-9551-1A109C8C25F3}" type="presOf" srcId="{C06194D6-E6A9-425F-9B19-88285F0EC1D1}" destId="{30D34D6A-88A0-49C7-8838-FCD832F11449}" srcOrd="0" destOrd="0" presId="urn:microsoft.com/office/officeart/2005/8/layout/hierarchy1"/>
    <dgm:cxn modelId="{B7CFB03F-8044-4AE8-973E-AD32E8FA80C4}" type="presOf" srcId="{FB30153A-1166-4656-BC57-3040647E351D}" destId="{6B667659-536F-46B2-8A30-C170A47346B7}" srcOrd="0" destOrd="0" presId="urn:microsoft.com/office/officeart/2005/8/layout/hierarchy1"/>
    <dgm:cxn modelId="{E12A5C8B-4FDA-45ED-854A-781CAE8674BE}" srcId="{9EE8F96C-0896-45A1-880C-823CFFCB46E5}" destId="{449ACB01-4837-4A83-8D73-2A878EC7DED9}" srcOrd="0" destOrd="0" parTransId="{16277B5F-71FE-4972-89D3-C4FEC0EDCECD}" sibTransId="{F113E866-3703-4B99-B0D3-8341E86E5190}"/>
    <dgm:cxn modelId="{9A2B058F-9CCC-4F2E-AC6F-F605D459DF31}" srcId="{5A9614A5-7333-4C40-A9F1-583713A10816}" destId="{9EE8F96C-0896-45A1-880C-823CFFCB46E5}" srcOrd="0" destOrd="0" parTransId="{46B8F5E6-00F5-4073-832D-34F342D2DA5F}" sibTransId="{81079CED-846E-413A-B413-801DED6E9847}"/>
    <dgm:cxn modelId="{722E8BA6-0EE8-4237-B9E2-37C5FC5576D2}" type="presOf" srcId="{1A21D708-D078-43E2-9030-8A4A38C47019}" destId="{A78ACD05-B7E8-4D33-95CC-E7F98634FCAC}" srcOrd="0" destOrd="0" presId="urn:microsoft.com/office/officeart/2005/8/layout/hierarchy1"/>
    <dgm:cxn modelId="{DE4634BA-C3A3-454F-9D96-FD4E353E25C9}" type="presOf" srcId="{9EE8F96C-0896-45A1-880C-823CFFCB46E5}" destId="{07CD4A5F-22D1-405B-A7D4-AE7A1FC6F014}" srcOrd="0" destOrd="0" presId="urn:microsoft.com/office/officeart/2005/8/layout/hierarchy1"/>
    <dgm:cxn modelId="{9DF37ECE-5EA4-4BDF-93F3-7B590A3D3887}" srcId="{9EE8F96C-0896-45A1-880C-823CFFCB46E5}" destId="{C06194D6-E6A9-425F-9B19-88285F0EC1D1}" srcOrd="1" destOrd="0" parTransId="{FB30153A-1166-4656-BC57-3040647E351D}" sibTransId="{04325757-056D-4478-BEFF-44FCEE6D4E70}"/>
    <dgm:cxn modelId="{057EA30F-6290-43D7-955C-109F722019D3}" type="presParOf" srcId="{2B60F6AB-2C53-4427-9BD0-D10480A11957}" destId="{19FF4073-F0A0-4034-9C16-D868067D9FF6}" srcOrd="0" destOrd="0" presId="urn:microsoft.com/office/officeart/2005/8/layout/hierarchy1"/>
    <dgm:cxn modelId="{B59D0974-A294-470E-BE36-A7F0226B605D}" type="presParOf" srcId="{19FF4073-F0A0-4034-9C16-D868067D9FF6}" destId="{FA22385F-69A0-4E78-A109-32813C9B77BC}" srcOrd="0" destOrd="0" presId="urn:microsoft.com/office/officeart/2005/8/layout/hierarchy1"/>
    <dgm:cxn modelId="{05AC238B-B64A-41FB-AAC5-6CA7AA8DD22B}" type="presParOf" srcId="{FA22385F-69A0-4E78-A109-32813C9B77BC}" destId="{D51591E1-51A9-46BA-9B0E-8256BD879458}" srcOrd="0" destOrd="0" presId="urn:microsoft.com/office/officeart/2005/8/layout/hierarchy1"/>
    <dgm:cxn modelId="{39E4446E-C13B-4C11-B5EB-666704E129B6}" type="presParOf" srcId="{FA22385F-69A0-4E78-A109-32813C9B77BC}" destId="{07CD4A5F-22D1-405B-A7D4-AE7A1FC6F014}" srcOrd="1" destOrd="0" presId="urn:microsoft.com/office/officeart/2005/8/layout/hierarchy1"/>
    <dgm:cxn modelId="{11F2334D-1F6C-4A64-A8A1-23C85A3FA6AC}" type="presParOf" srcId="{19FF4073-F0A0-4034-9C16-D868067D9FF6}" destId="{E626D103-249A-4706-940A-646FA85E80F3}" srcOrd="1" destOrd="0" presId="urn:microsoft.com/office/officeart/2005/8/layout/hierarchy1"/>
    <dgm:cxn modelId="{EE1D9F54-7B11-4377-A1FD-B351FAEFA8D1}" type="presParOf" srcId="{E626D103-249A-4706-940A-646FA85E80F3}" destId="{36BACD7D-AD9B-47D3-8EF9-31265486257E}" srcOrd="0" destOrd="0" presId="urn:microsoft.com/office/officeart/2005/8/layout/hierarchy1"/>
    <dgm:cxn modelId="{F46D07FD-9B18-4154-AE0E-C99BFD3E8388}" type="presParOf" srcId="{E626D103-249A-4706-940A-646FA85E80F3}" destId="{D3568E55-D4FF-41C7-A960-74938F0F30D0}" srcOrd="1" destOrd="0" presId="urn:microsoft.com/office/officeart/2005/8/layout/hierarchy1"/>
    <dgm:cxn modelId="{59EA3D77-264C-4CE6-8D39-F1C27DAEA255}" type="presParOf" srcId="{D3568E55-D4FF-41C7-A960-74938F0F30D0}" destId="{01676FE6-9626-4379-B678-2EEC41E56683}" srcOrd="0" destOrd="0" presId="urn:microsoft.com/office/officeart/2005/8/layout/hierarchy1"/>
    <dgm:cxn modelId="{2A87F7B0-BCE4-4642-AABE-DF744BDA00FE}" type="presParOf" srcId="{01676FE6-9626-4379-B678-2EEC41E56683}" destId="{DA95CF08-1727-4A80-AADA-AF0267804F38}" srcOrd="0" destOrd="0" presId="urn:microsoft.com/office/officeart/2005/8/layout/hierarchy1"/>
    <dgm:cxn modelId="{604321DB-69EA-4B91-BFCC-1866726E62FE}" type="presParOf" srcId="{01676FE6-9626-4379-B678-2EEC41E56683}" destId="{F2804261-15F1-48E3-ABAE-91A8ED357BFC}" srcOrd="1" destOrd="0" presId="urn:microsoft.com/office/officeart/2005/8/layout/hierarchy1"/>
    <dgm:cxn modelId="{EF40EBB1-AB0D-4C97-BEF9-216E4EC8FD1E}" type="presParOf" srcId="{D3568E55-D4FF-41C7-A960-74938F0F30D0}" destId="{8F62277A-8691-44C3-AFFC-6E4E6ECA2ABE}" srcOrd="1" destOrd="0" presId="urn:microsoft.com/office/officeart/2005/8/layout/hierarchy1"/>
    <dgm:cxn modelId="{1124E20B-ACF9-40F0-B58E-8B0F6CE5B9C7}" type="presParOf" srcId="{E626D103-249A-4706-940A-646FA85E80F3}" destId="{6B667659-536F-46B2-8A30-C170A47346B7}" srcOrd="2" destOrd="0" presId="urn:microsoft.com/office/officeart/2005/8/layout/hierarchy1"/>
    <dgm:cxn modelId="{A5399C28-CED7-436C-B981-EAB62414DA6A}" type="presParOf" srcId="{E626D103-249A-4706-940A-646FA85E80F3}" destId="{F6AEC61F-010A-435E-9E81-E20B60D9D4C6}" srcOrd="3" destOrd="0" presId="urn:microsoft.com/office/officeart/2005/8/layout/hierarchy1"/>
    <dgm:cxn modelId="{AD3552D1-5339-4442-94BF-C8D32FD53D94}" type="presParOf" srcId="{F6AEC61F-010A-435E-9E81-E20B60D9D4C6}" destId="{56AE444B-50C5-4903-8B22-08DDA069F6E0}" srcOrd="0" destOrd="0" presId="urn:microsoft.com/office/officeart/2005/8/layout/hierarchy1"/>
    <dgm:cxn modelId="{1948729E-9A56-44F0-9B45-4528704D4183}" type="presParOf" srcId="{56AE444B-50C5-4903-8B22-08DDA069F6E0}" destId="{16C97C11-516E-432A-9E4F-715787956126}" srcOrd="0" destOrd="0" presId="urn:microsoft.com/office/officeart/2005/8/layout/hierarchy1"/>
    <dgm:cxn modelId="{A17AD285-C99A-48A4-8B67-434968DC532E}" type="presParOf" srcId="{56AE444B-50C5-4903-8B22-08DDA069F6E0}" destId="{30D34D6A-88A0-49C7-8838-FCD832F11449}" srcOrd="1" destOrd="0" presId="urn:microsoft.com/office/officeart/2005/8/layout/hierarchy1"/>
    <dgm:cxn modelId="{11E39444-A85A-4264-BA83-FAF5D5BD08A3}" type="presParOf" srcId="{F6AEC61F-010A-435E-9E81-E20B60D9D4C6}" destId="{B694D087-60AE-4F45-84C9-2A37D80907EE}" srcOrd="1" destOrd="0" presId="urn:microsoft.com/office/officeart/2005/8/layout/hierarchy1"/>
    <dgm:cxn modelId="{D46BB724-606E-4877-B4B3-1109EDDD57AE}" type="presParOf" srcId="{E626D103-249A-4706-940A-646FA85E80F3}" destId="{97209A22-422D-4645-9672-2FB306F40C3B}" srcOrd="4" destOrd="0" presId="urn:microsoft.com/office/officeart/2005/8/layout/hierarchy1"/>
    <dgm:cxn modelId="{04B9F6C8-17B9-479C-9EB9-12BB1AA981BB}" type="presParOf" srcId="{E626D103-249A-4706-940A-646FA85E80F3}" destId="{95807EF3-EB0D-403E-A71B-3EF5A74114D6}" srcOrd="5" destOrd="0" presId="urn:microsoft.com/office/officeart/2005/8/layout/hierarchy1"/>
    <dgm:cxn modelId="{2005DBF5-4322-4D69-A638-688F6282B023}" type="presParOf" srcId="{95807EF3-EB0D-403E-A71B-3EF5A74114D6}" destId="{D4EB7259-2EED-4B97-9D4F-C26A1383F45F}" srcOrd="0" destOrd="0" presId="urn:microsoft.com/office/officeart/2005/8/layout/hierarchy1"/>
    <dgm:cxn modelId="{C8CE0D4E-983A-462A-B0EC-8723CBA413C1}" type="presParOf" srcId="{D4EB7259-2EED-4B97-9D4F-C26A1383F45F}" destId="{843F3AD3-A895-42D2-8252-F6AFB47D5F0F}" srcOrd="0" destOrd="0" presId="urn:microsoft.com/office/officeart/2005/8/layout/hierarchy1"/>
    <dgm:cxn modelId="{8A49E543-D722-4C00-87B0-81DA17CA48B8}" type="presParOf" srcId="{D4EB7259-2EED-4B97-9D4F-C26A1383F45F}" destId="{A78ACD05-B7E8-4D33-95CC-E7F98634FCAC}" srcOrd="1" destOrd="0" presId="urn:microsoft.com/office/officeart/2005/8/layout/hierarchy1"/>
    <dgm:cxn modelId="{26FA1964-CE41-4D50-9882-66C7BB62E09A}" type="presParOf" srcId="{95807EF3-EB0D-403E-A71B-3EF5A74114D6}" destId="{79381F51-B24B-4B93-9C9C-F72FED49C6B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BF66D02-C2B8-4C18-BC32-C09F356AAE9C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D764B1-71B0-40D4-BA1A-9A07E38E8CE4}">
      <dgm:prSet phldrT="[Text]" custT="1"/>
      <dgm:spPr/>
      <dgm:t>
        <a:bodyPr/>
        <a:lstStyle/>
        <a:p>
          <a:r>
            <a:rPr lang="en-US" sz="1400"/>
            <a:t>[Project Manager]</a:t>
          </a:r>
        </a:p>
      </dgm:t>
    </dgm:pt>
    <dgm:pt modelId="{C89A4715-C36F-4D48-88E3-A0FBBF7E3F4B}" type="parTrans" cxnId="{E3BA12B4-0FEC-4D0C-A21C-218A3B56D912}">
      <dgm:prSet/>
      <dgm:spPr/>
      <dgm:t>
        <a:bodyPr/>
        <a:lstStyle/>
        <a:p>
          <a:endParaRPr lang="en-US" sz="1400"/>
        </a:p>
      </dgm:t>
    </dgm:pt>
    <dgm:pt modelId="{277F971C-C5DE-4941-8494-6C2F96892E12}" type="sibTrans" cxnId="{E3BA12B4-0FEC-4D0C-A21C-218A3B56D912}">
      <dgm:prSet/>
      <dgm:spPr/>
      <dgm:t>
        <a:bodyPr/>
        <a:lstStyle/>
        <a:p>
          <a:endParaRPr lang="en-US" sz="1400"/>
        </a:p>
      </dgm:t>
    </dgm:pt>
    <dgm:pt modelId="{8386579D-7E75-4545-A386-4A2B6EE659F7}">
      <dgm:prSet phldrT="[Text]" custT="1"/>
      <dgm:spPr/>
      <dgm:t>
        <a:bodyPr/>
        <a:lstStyle/>
        <a:p>
          <a:r>
            <a:rPr lang="en-US" sz="1400"/>
            <a:t>[System Architect]</a:t>
          </a:r>
        </a:p>
      </dgm:t>
    </dgm:pt>
    <dgm:pt modelId="{2A53B1E5-00A4-496E-BE59-C100D6F0C6DF}" type="parTrans" cxnId="{01C20C7E-4672-496C-B321-1A1A7B518CD4}">
      <dgm:prSet/>
      <dgm:spPr/>
      <dgm:t>
        <a:bodyPr/>
        <a:lstStyle/>
        <a:p>
          <a:endParaRPr lang="en-US" sz="1400"/>
        </a:p>
      </dgm:t>
    </dgm:pt>
    <dgm:pt modelId="{C61B7AE7-C555-43AD-B6A1-67B4A976B958}" type="sibTrans" cxnId="{01C20C7E-4672-496C-B321-1A1A7B518CD4}">
      <dgm:prSet/>
      <dgm:spPr/>
      <dgm:t>
        <a:bodyPr/>
        <a:lstStyle/>
        <a:p>
          <a:endParaRPr lang="en-US" sz="1400"/>
        </a:p>
      </dgm:t>
    </dgm:pt>
    <dgm:pt modelId="{8599387A-F97D-45F1-8A1F-B48203F31D5E}">
      <dgm:prSet phldrT="[Text]" custT="1"/>
      <dgm:spPr/>
      <dgm:t>
        <a:bodyPr/>
        <a:lstStyle/>
        <a:p>
          <a:r>
            <a:rPr lang="en-US" sz="1400"/>
            <a:t>[Core Team Member / Discipline Architect]</a:t>
          </a:r>
        </a:p>
      </dgm:t>
    </dgm:pt>
    <dgm:pt modelId="{BCDC8B01-597F-4176-91E8-245B81A05D55}" type="parTrans" cxnId="{D75985E3-04ED-4540-AB2F-AFC8F9B04626}">
      <dgm:prSet/>
      <dgm:spPr/>
      <dgm:t>
        <a:bodyPr/>
        <a:lstStyle/>
        <a:p>
          <a:endParaRPr lang="en-US" sz="1400"/>
        </a:p>
      </dgm:t>
    </dgm:pt>
    <dgm:pt modelId="{810A85AB-7B34-4A89-B57A-16CB39CC6C5A}" type="sibTrans" cxnId="{D75985E3-04ED-4540-AB2F-AFC8F9B04626}">
      <dgm:prSet/>
      <dgm:spPr/>
      <dgm:t>
        <a:bodyPr/>
        <a:lstStyle/>
        <a:p>
          <a:endParaRPr lang="en-US" sz="1400"/>
        </a:p>
      </dgm:t>
    </dgm:pt>
    <dgm:pt modelId="{DEF1C3C7-27D5-4DBC-B607-FA67C3210678}">
      <dgm:prSet phldrT="[Text]" custT="1"/>
      <dgm:spPr/>
      <dgm:t>
        <a:bodyPr/>
        <a:lstStyle/>
        <a:p>
          <a:r>
            <a:rPr lang="en-US" sz="1400"/>
            <a:t>[Account Manager]</a:t>
          </a:r>
        </a:p>
      </dgm:t>
    </dgm:pt>
    <dgm:pt modelId="{9865933E-6C59-4B75-AE19-BF89D8B68E29}" type="parTrans" cxnId="{DD511901-E0CE-47BC-A952-F508A7C2BAF5}">
      <dgm:prSet/>
      <dgm:spPr/>
      <dgm:t>
        <a:bodyPr/>
        <a:lstStyle/>
        <a:p>
          <a:endParaRPr lang="en-US" sz="1400"/>
        </a:p>
      </dgm:t>
    </dgm:pt>
    <dgm:pt modelId="{70AE3DF9-FE50-468B-8ED4-D9D6CC0E1494}" type="sibTrans" cxnId="{DD511901-E0CE-47BC-A952-F508A7C2BAF5}">
      <dgm:prSet/>
      <dgm:spPr/>
      <dgm:t>
        <a:bodyPr/>
        <a:lstStyle/>
        <a:p>
          <a:endParaRPr lang="en-US" sz="1400"/>
        </a:p>
      </dgm:t>
    </dgm:pt>
    <dgm:pt modelId="{D476BBCF-E585-478B-ABDB-A883688F3510}">
      <dgm:prSet custT="1"/>
      <dgm:spPr/>
      <dgm:t>
        <a:bodyPr/>
        <a:lstStyle/>
        <a:p>
          <a:r>
            <a:rPr lang="en-US" sz="1400"/>
            <a:t>[Core Team Member / Discipline Architect]</a:t>
          </a:r>
        </a:p>
      </dgm:t>
    </dgm:pt>
    <dgm:pt modelId="{83D0C2FB-7F99-446C-ACF4-8B02CB0EB074}" type="parTrans" cxnId="{6187825E-B958-4981-90C7-ACC616BA62FD}">
      <dgm:prSet/>
      <dgm:spPr/>
      <dgm:t>
        <a:bodyPr/>
        <a:lstStyle/>
        <a:p>
          <a:endParaRPr lang="en-US" sz="1400"/>
        </a:p>
      </dgm:t>
    </dgm:pt>
    <dgm:pt modelId="{65B2FE6D-00CA-49E7-8F3F-B514833376C9}" type="sibTrans" cxnId="{6187825E-B958-4981-90C7-ACC616BA62FD}">
      <dgm:prSet/>
      <dgm:spPr/>
      <dgm:t>
        <a:bodyPr/>
        <a:lstStyle/>
        <a:p>
          <a:endParaRPr lang="en-US" sz="1400"/>
        </a:p>
      </dgm:t>
    </dgm:pt>
    <dgm:pt modelId="{3D0793BE-CA54-46CF-B94A-C36F8CFDA87D}">
      <dgm:prSet custT="1"/>
      <dgm:spPr/>
      <dgm:t>
        <a:bodyPr/>
        <a:lstStyle/>
        <a:p>
          <a:r>
            <a:rPr lang="en-US" sz="1400"/>
            <a:t>[Core Team Member / Discipline Architect]</a:t>
          </a:r>
        </a:p>
      </dgm:t>
    </dgm:pt>
    <dgm:pt modelId="{2612428E-AC4C-487A-96CF-EC009E31FEBC}" type="parTrans" cxnId="{8706950F-1D66-4FCF-9B3E-0885305435EA}">
      <dgm:prSet/>
      <dgm:spPr/>
      <dgm:t>
        <a:bodyPr/>
        <a:lstStyle/>
        <a:p>
          <a:endParaRPr lang="en-US" sz="1400"/>
        </a:p>
      </dgm:t>
    </dgm:pt>
    <dgm:pt modelId="{09D98189-C31C-4E68-891B-2334522BEE64}" type="sibTrans" cxnId="{8706950F-1D66-4FCF-9B3E-0885305435EA}">
      <dgm:prSet/>
      <dgm:spPr/>
      <dgm:t>
        <a:bodyPr/>
        <a:lstStyle/>
        <a:p>
          <a:endParaRPr lang="en-US" sz="1400"/>
        </a:p>
      </dgm:t>
    </dgm:pt>
    <dgm:pt modelId="{819047CA-C75E-4E38-A9BE-B7041C7E8412}">
      <dgm:prSet custT="1"/>
      <dgm:spPr/>
      <dgm:t>
        <a:bodyPr/>
        <a:lstStyle/>
        <a:p>
          <a:r>
            <a:rPr lang="en-US" sz="1400"/>
            <a:t>[Core Team Member / Discipline Architect]</a:t>
          </a:r>
        </a:p>
      </dgm:t>
    </dgm:pt>
    <dgm:pt modelId="{B85EA6E8-B5D5-43F0-BA17-2CFD14074A57}" type="parTrans" cxnId="{E9A9D2C0-ED6E-4B05-9C43-7CBF3EB1361B}">
      <dgm:prSet/>
      <dgm:spPr/>
      <dgm:t>
        <a:bodyPr/>
        <a:lstStyle/>
        <a:p>
          <a:endParaRPr lang="en-US" sz="1400"/>
        </a:p>
      </dgm:t>
    </dgm:pt>
    <dgm:pt modelId="{4F9C5576-E62F-4B5D-9EB9-6B33EBD283BA}" type="sibTrans" cxnId="{E9A9D2C0-ED6E-4B05-9C43-7CBF3EB1361B}">
      <dgm:prSet/>
      <dgm:spPr/>
      <dgm:t>
        <a:bodyPr/>
        <a:lstStyle/>
        <a:p>
          <a:endParaRPr lang="en-US" sz="1400"/>
        </a:p>
      </dgm:t>
    </dgm:pt>
    <dgm:pt modelId="{BDBF7C12-CE74-474C-8923-3A2D0CE4AA00}">
      <dgm:prSet custT="1"/>
      <dgm:spPr/>
      <dgm:t>
        <a:bodyPr/>
        <a:lstStyle/>
        <a:p>
          <a:r>
            <a:rPr lang="en-US" sz="1400"/>
            <a:t>[Core Team Member / Discipline Architect]</a:t>
          </a:r>
        </a:p>
      </dgm:t>
    </dgm:pt>
    <dgm:pt modelId="{CA57DB1A-319D-4B64-9159-9723E3E0F0D7}" type="parTrans" cxnId="{9C797C71-156B-46DF-8658-02D2A7372598}">
      <dgm:prSet/>
      <dgm:spPr/>
      <dgm:t>
        <a:bodyPr/>
        <a:lstStyle/>
        <a:p>
          <a:endParaRPr lang="en-US" sz="1400"/>
        </a:p>
      </dgm:t>
    </dgm:pt>
    <dgm:pt modelId="{85A43BD0-FEBD-4521-8F93-116C8FFFC137}" type="sibTrans" cxnId="{9C797C71-156B-46DF-8658-02D2A7372598}">
      <dgm:prSet/>
      <dgm:spPr/>
      <dgm:t>
        <a:bodyPr/>
        <a:lstStyle/>
        <a:p>
          <a:endParaRPr lang="en-US" sz="1400"/>
        </a:p>
      </dgm:t>
    </dgm:pt>
    <dgm:pt modelId="{55E55FC7-A378-4355-B05D-A8FC4E906779}" type="pres">
      <dgm:prSet presAssocID="{2BF66D02-C2B8-4C18-BC32-C09F356AAE9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097F19E-E93F-40BD-BFAA-E9A48D395391}" type="pres">
      <dgm:prSet presAssocID="{62D764B1-71B0-40D4-BA1A-9A07E38E8CE4}" presName="hierRoot1" presStyleCnt="0"/>
      <dgm:spPr/>
    </dgm:pt>
    <dgm:pt modelId="{6E0AA7CB-2A38-4F3E-BDE8-6A2289C7F949}" type="pres">
      <dgm:prSet presAssocID="{62D764B1-71B0-40D4-BA1A-9A07E38E8CE4}" presName="composite" presStyleCnt="0"/>
      <dgm:spPr/>
    </dgm:pt>
    <dgm:pt modelId="{A77AED32-5FC0-4DCB-AB61-C0F1559AF26A}" type="pres">
      <dgm:prSet presAssocID="{62D764B1-71B0-40D4-BA1A-9A07E38E8CE4}" presName="background" presStyleLbl="node0" presStyleIdx="0" presStyleCnt="3"/>
      <dgm:spPr/>
    </dgm:pt>
    <dgm:pt modelId="{6CA6387D-8DC8-42EE-8ADA-6078ADBE65E7}" type="pres">
      <dgm:prSet presAssocID="{62D764B1-71B0-40D4-BA1A-9A07E38E8CE4}" presName="text" presStyleLbl="fgAcc0" presStyleIdx="0" presStyleCnt="3">
        <dgm:presLayoutVars>
          <dgm:chPref val="3"/>
        </dgm:presLayoutVars>
      </dgm:prSet>
      <dgm:spPr/>
    </dgm:pt>
    <dgm:pt modelId="{70110D66-2602-4AF7-BD89-EA965051BD17}" type="pres">
      <dgm:prSet presAssocID="{62D764B1-71B0-40D4-BA1A-9A07E38E8CE4}" presName="hierChild2" presStyleCnt="0"/>
      <dgm:spPr/>
    </dgm:pt>
    <dgm:pt modelId="{96B8C803-C3EF-4B52-83ED-F68138051565}" type="pres">
      <dgm:prSet presAssocID="{8386579D-7E75-4545-A386-4A2B6EE659F7}" presName="hierRoot1" presStyleCnt="0"/>
      <dgm:spPr/>
    </dgm:pt>
    <dgm:pt modelId="{A76F890E-F1D7-46C9-8FD1-82DC19CB2F27}" type="pres">
      <dgm:prSet presAssocID="{8386579D-7E75-4545-A386-4A2B6EE659F7}" presName="composite" presStyleCnt="0"/>
      <dgm:spPr/>
    </dgm:pt>
    <dgm:pt modelId="{3D3AEF24-5FBE-4665-8029-70C6AD2730E9}" type="pres">
      <dgm:prSet presAssocID="{8386579D-7E75-4545-A386-4A2B6EE659F7}" presName="background" presStyleLbl="node0" presStyleIdx="1" presStyleCnt="3"/>
      <dgm:spPr/>
    </dgm:pt>
    <dgm:pt modelId="{6B2C4841-D744-442B-BD9D-5AAC788DB9D3}" type="pres">
      <dgm:prSet presAssocID="{8386579D-7E75-4545-A386-4A2B6EE659F7}" presName="text" presStyleLbl="fgAcc0" presStyleIdx="1" presStyleCnt="3">
        <dgm:presLayoutVars>
          <dgm:chPref val="3"/>
        </dgm:presLayoutVars>
      </dgm:prSet>
      <dgm:spPr/>
    </dgm:pt>
    <dgm:pt modelId="{169B732E-9ECF-4F15-805C-EBAE8C4356D7}" type="pres">
      <dgm:prSet presAssocID="{8386579D-7E75-4545-A386-4A2B6EE659F7}" presName="hierChild2" presStyleCnt="0"/>
      <dgm:spPr/>
    </dgm:pt>
    <dgm:pt modelId="{AC0840FB-8B55-47E5-B547-3CFC788A8645}" type="pres">
      <dgm:prSet presAssocID="{BCDC8B01-597F-4176-91E8-245B81A05D55}" presName="Name10" presStyleLbl="parChTrans1D2" presStyleIdx="0" presStyleCnt="5"/>
      <dgm:spPr/>
    </dgm:pt>
    <dgm:pt modelId="{D7062A68-D8EE-42C1-B88F-9D0FAF7B772F}" type="pres">
      <dgm:prSet presAssocID="{8599387A-F97D-45F1-8A1F-B48203F31D5E}" presName="hierRoot2" presStyleCnt="0"/>
      <dgm:spPr/>
    </dgm:pt>
    <dgm:pt modelId="{C33C27F7-3166-40AB-8362-583FF1F9249D}" type="pres">
      <dgm:prSet presAssocID="{8599387A-F97D-45F1-8A1F-B48203F31D5E}" presName="composite2" presStyleCnt="0"/>
      <dgm:spPr/>
    </dgm:pt>
    <dgm:pt modelId="{4ABBFF52-FF5B-4BCC-9150-EEA276452C1A}" type="pres">
      <dgm:prSet presAssocID="{8599387A-F97D-45F1-8A1F-B48203F31D5E}" presName="background2" presStyleLbl="node2" presStyleIdx="0" presStyleCnt="5"/>
      <dgm:spPr/>
    </dgm:pt>
    <dgm:pt modelId="{CA33E093-217C-4EFB-B2C5-EC59D33748A8}" type="pres">
      <dgm:prSet presAssocID="{8599387A-F97D-45F1-8A1F-B48203F31D5E}" presName="text2" presStyleLbl="fgAcc2" presStyleIdx="0" presStyleCnt="5">
        <dgm:presLayoutVars>
          <dgm:chPref val="3"/>
        </dgm:presLayoutVars>
      </dgm:prSet>
      <dgm:spPr/>
    </dgm:pt>
    <dgm:pt modelId="{5361ACBD-577F-4775-9BE4-CD5DE2F73A46}" type="pres">
      <dgm:prSet presAssocID="{8599387A-F97D-45F1-8A1F-B48203F31D5E}" presName="hierChild3" presStyleCnt="0"/>
      <dgm:spPr/>
    </dgm:pt>
    <dgm:pt modelId="{41A02FF0-29CB-41E2-8BA6-8EBACFB79DE4}" type="pres">
      <dgm:prSet presAssocID="{83D0C2FB-7F99-446C-ACF4-8B02CB0EB074}" presName="Name10" presStyleLbl="parChTrans1D2" presStyleIdx="1" presStyleCnt="5"/>
      <dgm:spPr/>
    </dgm:pt>
    <dgm:pt modelId="{C21FD9EB-4D0B-4DCE-AC6B-CC72F6EF8EE9}" type="pres">
      <dgm:prSet presAssocID="{D476BBCF-E585-478B-ABDB-A883688F3510}" presName="hierRoot2" presStyleCnt="0"/>
      <dgm:spPr/>
    </dgm:pt>
    <dgm:pt modelId="{E9A1ABB9-EE72-4228-A45E-EBB450D9A02C}" type="pres">
      <dgm:prSet presAssocID="{D476BBCF-E585-478B-ABDB-A883688F3510}" presName="composite2" presStyleCnt="0"/>
      <dgm:spPr/>
    </dgm:pt>
    <dgm:pt modelId="{A9D0801C-6BBE-40EA-BC9E-93A74EC155F0}" type="pres">
      <dgm:prSet presAssocID="{D476BBCF-E585-478B-ABDB-A883688F3510}" presName="background2" presStyleLbl="node2" presStyleIdx="1" presStyleCnt="5"/>
      <dgm:spPr/>
    </dgm:pt>
    <dgm:pt modelId="{A4C7A774-DD7C-42D2-A1B0-FA419EA8FB6A}" type="pres">
      <dgm:prSet presAssocID="{D476BBCF-E585-478B-ABDB-A883688F3510}" presName="text2" presStyleLbl="fgAcc2" presStyleIdx="1" presStyleCnt="5" custLinFactNeighborX="1646">
        <dgm:presLayoutVars>
          <dgm:chPref val="3"/>
        </dgm:presLayoutVars>
      </dgm:prSet>
      <dgm:spPr/>
    </dgm:pt>
    <dgm:pt modelId="{9B6710F6-22B0-4CEB-A71D-F6A4431D2480}" type="pres">
      <dgm:prSet presAssocID="{D476BBCF-E585-478B-ABDB-A883688F3510}" presName="hierChild3" presStyleCnt="0"/>
      <dgm:spPr/>
    </dgm:pt>
    <dgm:pt modelId="{C6092E95-C6B4-46A6-9B01-A867312F2618}" type="pres">
      <dgm:prSet presAssocID="{CA57DB1A-319D-4B64-9159-9723E3E0F0D7}" presName="Name10" presStyleLbl="parChTrans1D2" presStyleIdx="2" presStyleCnt="5"/>
      <dgm:spPr/>
    </dgm:pt>
    <dgm:pt modelId="{47D73AEB-0DA9-4545-9E99-BAB0B4EB25EB}" type="pres">
      <dgm:prSet presAssocID="{BDBF7C12-CE74-474C-8923-3A2D0CE4AA00}" presName="hierRoot2" presStyleCnt="0"/>
      <dgm:spPr/>
    </dgm:pt>
    <dgm:pt modelId="{2ADA4984-81BC-4C52-852D-5C4F996E742F}" type="pres">
      <dgm:prSet presAssocID="{BDBF7C12-CE74-474C-8923-3A2D0CE4AA00}" presName="composite2" presStyleCnt="0"/>
      <dgm:spPr/>
    </dgm:pt>
    <dgm:pt modelId="{9E04FA81-7D37-4DD1-9A83-8A5D35587012}" type="pres">
      <dgm:prSet presAssocID="{BDBF7C12-CE74-474C-8923-3A2D0CE4AA00}" presName="background2" presStyleLbl="node2" presStyleIdx="2" presStyleCnt="5"/>
      <dgm:spPr/>
    </dgm:pt>
    <dgm:pt modelId="{014A153D-D976-468D-B63C-A45582EED115}" type="pres">
      <dgm:prSet presAssocID="{BDBF7C12-CE74-474C-8923-3A2D0CE4AA00}" presName="text2" presStyleLbl="fgAcc2" presStyleIdx="2" presStyleCnt="5">
        <dgm:presLayoutVars>
          <dgm:chPref val="3"/>
        </dgm:presLayoutVars>
      </dgm:prSet>
      <dgm:spPr/>
    </dgm:pt>
    <dgm:pt modelId="{2F418DF4-2FC9-4F11-BBB3-9F5533FF2588}" type="pres">
      <dgm:prSet presAssocID="{BDBF7C12-CE74-474C-8923-3A2D0CE4AA00}" presName="hierChild3" presStyleCnt="0"/>
      <dgm:spPr/>
    </dgm:pt>
    <dgm:pt modelId="{15C8A153-2159-4071-8DB2-EAE307D5CFBA}" type="pres">
      <dgm:prSet presAssocID="{2612428E-AC4C-487A-96CF-EC009E31FEBC}" presName="Name10" presStyleLbl="parChTrans1D2" presStyleIdx="3" presStyleCnt="5"/>
      <dgm:spPr/>
    </dgm:pt>
    <dgm:pt modelId="{F7D28212-C6A3-49A7-AFA3-68D174A0AE4C}" type="pres">
      <dgm:prSet presAssocID="{3D0793BE-CA54-46CF-B94A-C36F8CFDA87D}" presName="hierRoot2" presStyleCnt="0"/>
      <dgm:spPr/>
    </dgm:pt>
    <dgm:pt modelId="{C80FB554-E04C-450A-B5B5-9F7F6CB78AB5}" type="pres">
      <dgm:prSet presAssocID="{3D0793BE-CA54-46CF-B94A-C36F8CFDA87D}" presName="composite2" presStyleCnt="0"/>
      <dgm:spPr/>
    </dgm:pt>
    <dgm:pt modelId="{D340AF50-6815-4B14-B435-8B36273EFF41}" type="pres">
      <dgm:prSet presAssocID="{3D0793BE-CA54-46CF-B94A-C36F8CFDA87D}" presName="background2" presStyleLbl="node2" presStyleIdx="3" presStyleCnt="5"/>
      <dgm:spPr/>
    </dgm:pt>
    <dgm:pt modelId="{63DB48DF-96C4-4AEA-A975-FBFA53E218CF}" type="pres">
      <dgm:prSet presAssocID="{3D0793BE-CA54-46CF-B94A-C36F8CFDA87D}" presName="text2" presStyleLbl="fgAcc2" presStyleIdx="3" presStyleCnt="5">
        <dgm:presLayoutVars>
          <dgm:chPref val="3"/>
        </dgm:presLayoutVars>
      </dgm:prSet>
      <dgm:spPr/>
    </dgm:pt>
    <dgm:pt modelId="{2641DB73-763C-4FEB-BA97-E15A1B230619}" type="pres">
      <dgm:prSet presAssocID="{3D0793BE-CA54-46CF-B94A-C36F8CFDA87D}" presName="hierChild3" presStyleCnt="0"/>
      <dgm:spPr/>
    </dgm:pt>
    <dgm:pt modelId="{D309606A-AA11-4A5A-AF35-B000098C2168}" type="pres">
      <dgm:prSet presAssocID="{B85EA6E8-B5D5-43F0-BA17-2CFD14074A57}" presName="Name10" presStyleLbl="parChTrans1D2" presStyleIdx="4" presStyleCnt="5"/>
      <dgm:spPr/>
    </dgm:pt>
    <dgm:pt modelId="{056D6DA4-381C-4816-97CA-FAE7E626193D}" type="pres">
      <dgm:prSet presAssocID="{819047CA-C75E-4E38-A9BE-B7041C7E8412}" presName="hierRoot2" presStyleCnt="0"/>
      <dgm:spPr/>
    </dgm:pt>
    <dgm:pt modelId="{E61A3963-3C6A-4FD8-819C-02DAC728EF47}" type="pres">
      <dgm:prSet presAssocID="{819047CA-C75E-4E38-A9BE-B7041C7E8412}" presName="composite2" presStyleCnt="0"/>
      <dgm:spPr/>
    </dgm:pt>
    <dgm:pt modelId="{BB5BAF35-3AF0-481A-A166-4508F6AC7494}" type="pres">
      <dgm:prSet presAssocID="{819047CA-C75E-4E38-A9BE-B7041C7E8412}" presName="background2" presStyleLbl="node2" presStyleIdx="4" presStyleCnt="5"/>
      <dgm:spPr/>
    </dgm:pt>
    <dgm:pt modelId="{86A038B7-C7C8-424D-B935-B61E9CC84669}" type="pres">
      <dgm:prSet presAssocID="{819047CA-C75E-4E38-A9BE-B7041C7E8412}" presName="text2" presStyleLbl="fgAcc2" presStyleIdx="4" presStyleCnt="5">
        <dgm:presLayoutVars>
          <dgm:chPref val="3"/>
        </dgm:presLayoutVars>
      </dgm:prSet>
      <dgm:spPr/>
    </dgm:pt>
    <dgm:pt modelId="{F8BE0AED-BB2B-49EC-8934-C28CC11B186D}" type="pres">
      <dgm:prSet presAssocID="{819047CA-C75E-4E38-A9BE-B7041C7E8412}" presName="hierChild3" presStyleCnt="0"/>
      <dgm:spPr/>
    </dgm:pt>
    <dgm:pt modelId="{5DED88A0-D8FF-42BE-B6CC-30219951473A}" type="pres">
      <dgm:prSet presAssocID="{DEF1C3C7-27D5-4DBC-B607-FA67C3210678}" presName="hierRoot1" presStyleCnt="0"/>
      <dgm:spPr/>
    </dgm:pt>
    <dgm:pt modelId="{07705E2A-02DC-48D4-A29B-45128F7B5E33}" type="pres">
      <dgm:prSet presAssocID="{DEF1C3C7-27D5-4DBC-B607-FA67C3210678}" presName="composite" presStyleCnt="0"/>
      <dgm:spPr/>
    </dgm:pt>
    <dgm:pt modelId="{C0A25FEE-3625-498E-ABD4-69EEFFF9F514}" type="pres">
      <dgm:prSet presAssocID="{DEF1C3C7-27D5-4DBC-B607-FA67C3210678}" presName="background" presStyleLbl="node0" presStyleIdx="2" presStyleCnt="3"/>
      <dgm:spPr/>
    </dgm:pt>
    <dgm:pt modelId="{F5FF8D5B-9E0E-4A38-BF7A-BE45AD7B712B}" type="pres">
      <dgm:prSet presAssocID="{DEF1C3C7-27D5-4DBC-B607-FA67C3210678}" presName="text" presStyleLbl="fgAcc0" presStyleIdx="2" presStyleCnt="3">
        <dgm:presLayoutVars>
          <dgm:chPref val="3"/>
        </dgm:presLayoutVars>
      </dgm:prSet>
      <dgm:spPr/>
    </dgm:pt>
    <dgm:pt modelId="{5E74CCCF-A569-4E82-8A9A-EB9B824B286A}" type="pres">
      <dgm:prSet presAssocID="{DEF1C3C7-27D5-4DBC-B607-FA67C3210678}" presName="hierChild2" presStyleCnt="0"/>
      <dgm:spPr/>
    </dgm:pt>
  </dgm:ptLst>
  <dgm:cxnLst>
    <dgm:cxn modelId="{F9090901-2FEC-4C62-BD33-7A35FC31BFC0}" type="presOf" srcId="{CA57DB1A-319D-4B64-9159-9723E3E0F0D7}" destId="{C6092E95-C6B4-46A6-9B01-A867312F2618}" srcOrd="0" destOrd="0" presId="urn:microsoft.com/office/officeart/2005/8/layout/hierarchy1"/>
    <dgm:cxn modelId="{DD511901-E0CE-47BC-A952-F508A7C2BAF5}" srcId="{2BF66D02-C2B8-4C18-BC32-C09F356AAE9C}" destId="{DEF1C3C7-27D5-4DBC-B607-FA67C3210678}" srcOrd="2" destOrd="0" parTransId="{9865933E-6C59-4B75-AE19-BF89D8B68E29}" sibTransId="{70AE3DF9-FE50-468B-8ED4-D9D6CC0E1494}"/>
    <dgm:cxn modelId="{853A2D04-D130-4F32-BE09-27B826D1C611}" type="presOf" srcId="{83D0C2FB-7F99-446C-ACF4-8B02CB0EB074}" destId="{41A02FF0-29CB-41E2-8BA6-8EBACFB79DE4}" srcOrd="0" destOrd="0" presId="urn:microsoft.com/office/officeart/2005/8/layout/hierarchy1"/>
    <dgm:cxn modelId="{8706950F-1D66-4FCF-9B3E-0885305435EA}" srcId="{8386579D-7E75-4545-A386-4A2B6EE659F7}" destId="{3D0793BE-CA54-46CF-B94A-C36F8CFDA87D}" srcOrd="3" destOrd="0" parTransId="{2612428E-AC4C-487A-96CF-EC009E31FEBC}" sibTransId="{09D98189-C31C-4E68-891B-2334522BEE64}"/>
    <dgm:cxn modelId="{3728491C-F584-4BB6-A098-F8209AEF8B18}" type="presOf" srcId="{8386579D-7E75-4545-A386-4A2B6EE659F7}" destId="{6B2C4841-D744-442B-BD9D-5AAC788DB9D3}" srcOrd="0" destOrd="0" presId="urn:microsoft.com/office/officeart/2005/8/layout/hierarchy1"/>
    <dgm:cxn modelId="{7C5B9B34-24C9-4DBE-90F0-9EFA709F9F6F}" type="presOf" srcId="{B85EA6E8-B5D5-43F0-BA17-2CFD14074A57}" destId="{D309606A-AA11-4A5A-AF35-B000098C2168}" srcOrd="0" destOrd="0" presId="urn:microsoft.com/office/officeart/2005/8/layout/hierarchy1"/>
    <dgm:cxn modelId="{14E2EB3D-D239-4453-BDC5-57EB610FA660}" type="presOf" srcId="{3D0793BE-CA54-46CF-B94A-C36F8CFDA87D}" destId="{63DB48DF-96C4-4AEA-A975-FBFA53E218CF}" srcOrd="0" destOrd="0" presId="urn:microsoft.com/office/officeart/2005/8/layout/hierarchy1"/>
    <dgm:cxn modelId="{6187825E-B958-4981-90C7-ACC616BA62FD}" srcId="{8386579D-7E75-4545-A386-4A2B6EE659F7}" destId="{D476BBCF-E585-478B-ABDB-A883688F3510}" srcOrd="1" destOrd="0" parTransId="{83D0C2FB-7F99-446C-ACF4-8B02CB0EB074}" sibTransId="{65B2FE6D-00CA-49E7-8F3F-B514833376C9}"/>
    <dgm:cxn modelId="{026B6360-202E-4FCF-A15D-7C5C259B1FE7}" type="presOf" srcId="{2BF66D02-C2B8-4C18-BC32-C09F356AAE9C}" destId="{55E55FC7-A378-4355-B05D-A8FC4E906779}" srcOrd="0" destOrd="0" presId="urn:microsoft.com/office/officeart/2005/8/layout/hierarchy1"/>
    <dgm:cxn modelId="{047D5B44-6EF7-44B5-B740-BA0B889990E4}" type="presOf" srcId="{BDBF7C12-CE74-474C-8923-3A2D0CE4AA00}" destId="{014A153D-D976-468D-B63C-A45582EED115}" srcOrd="0" destOrd="0" presId="urn:microsoft.com/office/officeart/2005/8/layout/hierarchy1"/>
    <dgm:cxn modelId="{9C797C71-156B-46DF-8658-02D2A7372598}" srcId="{8386579D-7E75-4545-A386-4A2B6EE659F7}" destId="{BDBF7C12-CE74-474C-8923-3A2D0CE4AA00}" srcOrd="2" destOrd="0" parTransId="{CA57DB1A-319D-4B64-9159-9723E3E0F0D7}" sibTransId="{85A43BD0-FEBD-4521-8F93-116C8FFFC137}"/>
    <dgm:cxn modelId="{01C20C7E-4672-496C-B321-1A1A7B518CD4}" srcId="{2BF66D02-C2B8-4C18-BC32-C09F356AAE9C}" destId="{8386579D-7E75-4545-A386-4A2B6EE659F7}" srcOrd="1" destOrd="0" parTransId="{2A53B1E5-00A4-496E-BE59-C100D6F0C6DF}" sibTransId="{C61B7AE7-C555-43AD-B6A1-67B4A976B958}"/>
    <dgm:cxn modelId="{BE16CC83-3784-4E9D-8FA7-3F23E2D61FD5}" type="presOf" srcId="{8599387A-F97D-45F1-8A1F-B48203F31D5E}" destId="{CA33E093-217C-4EFB-B2C5-EC59D33748A8}" srcOrd="0" destOrd="0" presId="urn:microsoft.com/office/officeart/2005/8/layout/hierarchy1"/>
    <dgm:cxn modelId="{E3BA12B4-0FEC-4D0C-A21C-218A3B56D912}" srcId="{2BF66D02-C2B8-4C18-BC32-C09F356AAE9C}" destId="{62D764B1-71B0-40D4-BA1A-9A07E38E8CE4}" srcOrd="0" destOrd="0" parTransId="{C89A4715-C36F-4D48-88E3-A0FBBF7E3F4B}" sibTransId="{277F971C-C5DE-4941-8494-6C2F96892E12}"/>
    <dgm:cxn modelId="{663367B4-DC0D-4EF1-98DA-5C9CCD1FFBFF}" type="presOf" srcId="{2612428E-AC4C-487A-96CF-EC009E31FEBC}" destId="{15C8A153-2159-4071-8DB2-EAE307D5CFBA}" srcOrd="0" destOrd="0" presId="urn:microsoft.com/office/officeart/2005/8/layout/hierarchy1"/>
    <dgm:cxn modelId="{FFD1F6BC-C87B-4737-8919-F30429F29BE0}" type="presOf" srcId="{819047CA-C75E-4E38-A9BE-B7041C7E8412}" destId="{86A038B7-C7C8-424D-B935-B61E9CC84669}" srcOrd="0" destOrd="0" presId="urn:microsoft.com/office/officeart/2005/8/layout/hierarchy1"/>
    <dgm:cxn modelId="{4D21ACBF-8109-444F-9867-B3E86709258E}" type="presOf" srcId="{BCDC8B01-597F-4176-91E8-245B81A05D55}" destId="{AC0840FB-8B55-47E5-B547-3CFC788A8645}" srcOrd="0" destOrd="0" presId="urn:microsoft.com/office/officeart/2005/8/layout/hierarchy1"/>
    <dgm:cxn modelId="{E9A9D2C0-ED6E-4B05-9C43-7CBF3EB1361B}" srcId="{8386579D-7E75-4545-A386-4A2B6EE659F7}" destId="{819047CA-C75E-4E38-A9BE-B7041C7E8412}" srcOrd="4" destOrd="0" parTransId="{B85EA6E8-B5D5-43F0-BA17-2CFD14074A57}" sibTransId="{4F9C5576-E62F-4B5D-9EB9-6B33EBD283BA}"/>
    <dgm:cxn modelId="{22850CC3-8F46-4CBE-8F91-FA5B88240C98}" type="presOf" srcId="{DEF1C3C7-27D5-4DBC-B607-FA67C3210678}" destId="{F5FF8D5B-9E0E-4A38-BF7A-BE45AD7B712B}" srcOrd="0" destOrd="0" presId="urn:microsoft.com/office/officeart/2005/8/layout/hierarchy1"/>
    <dgm:cxn modelId="{D75985E3-04ED-4540-AB2F-AFC8F9B04626}" srcId="{8386579D-7E75-4545-A386-4A2B6EE659F7}" destId="{8599387A-F97D-45F1-8A1F-B48203F31D5E}" srcOrd="0" destOrd="0" parTransId="{BCDC8B01-597F-4176-91E8-245B81A05D55}" sibTransId="{810A85AB-7B34-4A89-B57A-16CB39CC6C5A}"/>
    <dgm:cxn modelId="{751150E6-3070-4325-AD16-62D55C03CB40}" type="presOf" srcId="{62D764B1-71B0-40D4-BA1A-9A07E38E8CE4}" destId="{6CA6387D-8DC8-42EE-8ADA-6078ADBE65E7}" srcOrd="0" destOrd="0" presId="urn:microsoft.com/office/officeart/2005/8/layout/hierarchy1"/>
    <dgm:cxn modelId="{E7D373EF-D8A7-460C-AA99-3832E850B717}" type="presOf" srcId="{D476BBCF-E585-478B-ABDB-A883688F3510}" destId="{A4C7A774-DD7C-42D2-A1B0-FA419EA8FB6A}" srcOrd="0" destOrd="0" presId="urn:microsoft.com/office/officeart/2005/8/layout/hierarchy1"/>
    <dgm:cxn modelId="{634F1167-2147-40A8-856A-7B9CA6536215}" type="presParOf" srcId="{55E55FC7-A378-4355-B05D-A8FC4E906779}" destId="{0097F19E-E93F-40BD-BFAA-E9A48D395391}" srcOrd="0" destOrd="0" presId="urn:microsoft.com/office/officeart/2005/8/layout/hierarchy1"/>
    <dgm:cxn modelId="{5A2F62BC-A5ED-4745-A735-F122CCFCE532}" type="presParOf" srcId="{0097F19E-E93F-40BD-BFAA-E9A48D395391}" destId="{6E0AA7CB-2A38-4F3E-BDE8-6A2289C7F949}" srcOrd="0" destOrd="0" presId="urn:microsoft.com/office/officeart/2005/8/layout/hierarchy1"/>
    <dgm:cxn modelId="{A06A96FF-D965-4F30-AAF4-A6F497FE7D9F}" type="presParOf" srcId="{6E0AA7CB-2A38-4F3E-BDE8-6A2289C7F949}" destId="{A77AED32-5FC0-4DCB-AB61-C0F1559AF26A}" srcOrd="0" destOrd="0" presId="urn:microsoft.com/office/officeart/2005/8/layout/hierarchy1"/>
    <dgm:cxn modelId="{34DEE415-95E8-46E0-BA4B-C52348114562}" type="presParOf" srcId="{6E0AA7CB-2A38-4F3E-BDE8-6A2289C7F949}" destId="{6CA6387D-8DC8-42EE-8ADA-6078ADBE65E7}" srcOrd="1" destOrd="0" presId="urn:microsoft.com/office/officeart/2005/8/layout/hierarchy1"/>
    <dgm:cxn modelId="{EBF6E440-8DD0-4620-A07E-DDE331252599}" type="presParOf" srcId="{0097F19E-E93F-40BD-BFAA-E9A48D395391}" destId="{70110D66-2602-4AF7-BD89-EA965051BD17}" srcOrd="1" destOrd="0" presId="urn:microsoft.com/office/officeart/2005/8/layout/hierarchy1"/>
    <dgm:cxn modelId="{B1607725-89EA-4F1F-8CEB-257DC9FE9B28}" type="presParOf" srcId="{55E55FC7-A378-4355-B05D-A8FC4E906779}" destId="{96B8C803-C3EF-4B52-83ED-F68138051565}" srcOrd="1" destOrd="0" presId="urn:microsoft.com/office/officeart/2005/8/layout/hierarchy1"/>
    <dgm:cxn modelId="{C1889910-C8E2-4226-B6B4-134450F78473}" type="presParOf" srcId="{96B8C803-C3EF-4B52-83ED-F68138051565}" destId="{A76F890E-F1D7-46C9-8FD1-82DC19CB2F27}" srcOrd="0" destOrd="0" presId="urn:microsoft.com/office/officeart/2005/8/layout/hierarchy1"/>
    <dgm:cxn modelId="{9E40D6A9-20C7-48E1-929D-7FFCD988E81C}" type="presParOf" srcId="{A76F890E-F1D7-46C9-8FD1-82DC19CB2F27}" destId="{3D3AEF24-5FBE-4665-8029-70C6AD2730E9}" srcOrd="0" destOrd="0" presId="urn:microsoft.com/office/officeart/2005/8/layout/hierarchy1"/>
    <dgm:cxn modelId="{B0739E63-B2D1-4391-B002-1D902EAEB309}" type="presParOf" srcId="{A76F890E-F1D7-46C9-8FD1-82DC19CB2F27}" destId="{6B2C4841-D744-442B-BD9D-5AAC788DB9D3}" srcOrd="1" destOrd="0" presId="urn:microsoft.com/office/officeart/2005/8/layout/hierarchy1"/>
    <dgm:cxn modelId="{82BA32BB-5285-4A65-8A94-54F0929B9613}" type="presParOf" srcId="{96B8C803-C3EF-4B52-83ED-F68138051565}" destId="{169B732E-9ECF-4F15-805C-EBAE8C4356D7}" srcOrd="1" destOrd="0" presId="urn:microsoft.com/office/officeart/2005/8/layout/hierarchy1"/>
    <dgm:cxn modelId="{D80919A8-0557-400A-919D-AADBC0C2A56C}" type="presParOf" srcId="{169B732E-9ECF-4F15-805C-EBAE8C4356D7}" destId="{AC0840FB-8B55-47E5-B547-3CFC788A8645}" srcOrd="0" destOrd="0" presId="urn:microsoft.com/office/officeart/2005/8/layout/hierarchy1"/>
    <dgm:cxn modelId="{45DC1F7F-9E71-4FE2-AD58-4A1A8E00237A}" type="presParOf" srcId="{169B732E-9ECF-4F15-805C-EBAE8C4356D7}" destId="{D7062A68-D8EE-42C1-B88F-9D0FAF7B772F}" srcOrd="1" destOrd="0" presId="urn:microsoft.com/office/officeart/2005/8/layout/hierarchy1"/>
    <dgm:cxn modelId="{5C705615-64B8-4957-8FE9-65B76FAAE359}" type="presParOf" srcId="{D7062A68-D8EE-42C1-B88F-9D0FAF7B772F}" destId="{C33C27F7-3166-40AB-8362-583FF1F9249D}" srcOrd="0" destOrd="0" presId="urn:microsoft.com/office/officeart/2005/8/layout/hierarchy1"/>
    <dgm:cxn modelId="{0FC2EE30-A257-4D7F-9690-A95902BF13A6}" type="presParOf" srcId="{C33C27F7-3166-40AB-8362-583FF1F9249D}" destId="{4ABBFF52-FF5B-4BCC-9150-EEA276452C1A}" srcOrd="0" destOrd="0" presId="urn:microsoft.com/office/officeart/2005/8/layout/hierarchy1"/>
    <dgm:cxn modelId="{E6DF2019-1BEC-4C08-82D8-6FACD50EF315}" type="presParOf" srcId="{C33C27F7-3166-40AB-8362-583FF1F9249D}" destId="{CA33E093-217C-4EFB-B2C5-EC59D33748A8}" srcOrd="1" destOrd="0" presId="urn:microsoft.com/office/officeart/2005/8/layout/hierarchy1"/>
    <dgm:cxn modelId="{7D8EB010-A919-4D74-B596-52ED21EAC773}" type="presParOf" srcId="{D7062A68-D8EE-42C1-B88F-9D0FAF7B772F}" destId="{5361ACBD-577F-4775-9BE4-CD5DE2F73A46}" srcOrd="1" destOrd="0" presId="urn:microsoft.com/office/officeart/2005/8/layout/hierarchy1"/>
    <dgm:cxn modelId="{94D96BC5-6DE2-4419-8EF9-187CC6FF04D1}" type="presParOf" srcId="{169B732E-9ECF-4F15-805C-EBAE8C4356D7}" destId="{41A02FF0-29CB-41E2-8BA6-8EBACFB79DE4}" srcOrd="2" destOrd="0" presId="urn:microsoft.com/office/officeart/2005/8/layout/hierarchy1"/>
    <dgm:cxn modelId="{927DCFB0-75E8-430A-A67E-391FB53EEC6A}" type="presParOf" srcId="{169B732E-9ECF-4F15-805C-EBAE8C4356D7}" destId="{C21FD9EB-4D0B-4DCE-AC6B-CC72F6EF8EE9}" srcOrd="3" destOrd="0" presId="urn:microsoft.com/office/officeart/2005/8/layout/hierarchy1"/>
    <dgm:cxn modelId="{B70872A0-BEE0-4ABC-AE3B-BB72B16681CC}" type="presParOf" srcId="{C21FD9EB-4D0B-4DCE-AC6B-CC72F6EF8EE9}" destId="{E9A1ABB9-EE72-4228-A45E-EBB450D9A02C}" srcOrd="0" destOrd="0" presId="urn:microsoft.com/office/officeart/2005/8/layout/hierarchy1"/>
    <dgm:cxn modelId="{9C4D858B-3C57-4468-8712-66A320B56407}" type="presParOf" srcId="{E9A1ABB9-EE72-4228-A45E-EBB450D9A02C}" destId="{A9D0801C-6BBE-40EA-BC9E-93A74EC155F0}" srcOrd="0" destOrd="0" presId="urn:microsoft.com/office/officeart/2005/8/layout/hierarchy1"/>
    <dgm:cxn modelId="{BF0AE74E-9019-4563-B4B3-33B6ACAF01E6}" type="presParOf" srcId="{E9A1ABB9-EE72-4228-A45E-EBB450D9A02C}" destId="{A4C7A774-DD7C-42D2-A1B0-FA419EA8FB6A}" srcOrd="1" destOrd="0" presId="urn:microsoft.com/office/officeart/2005/8/layout/hierarchy1"/>
    <dgm:cxn modelId="{B7F71D48-31AF-4BC6-8A96-05B63F22727A}" type="presParOf" srcId="{C21FD9EB-4D0B-4DCE-AC6B-CC72F6EF8EE9}" destId="{9B6710F6-22B0-4CEB-A71D-F6A4431D2480}" srcOrd="1" destOrd="0" presId="urn:microsoft.com/office/officeart/2005/8/layout/hierarchy1"/>
    <dgm:cxn modelId="{A8FC2C83-D49A-41AE-B9EC-18A0BDEE59D5}" type="presParOf" srcId="{169B732E-9ECF-4F15-805C-EBAE8C4356D7}" destId="{C6092E95-C6B4-46A6-9B01-A867312F2618}" srcOrd="4" destOrd="0" presId="urn:microsoft.com/office/officeart/2005/8/layout/hierarchy1"/>
    <dgm:cxn modelId="{D8CD2A39-D0BB-4E96-87EF-9843F126A9BB}" type="presParOf" srcId="{169B732E-9ECF-4F15-805C-EBAE8C4356D7}" destId="{47D73AEB-0DA9-4545-9E99-BAB0B4EB25EB}" srcOrd="5" destOrd="0" presId="urn:microsoft.com/office/officeart/2005/8/layout/hierarchy1"/>
    <dgm:cxn modelId="{086D9293-AE7B-4BC7-81EB-420BE3C60A0D}" type="presParOf" srcId="{47D73AEB-0DA9-4545-9E99-BAB0B4EB25EB}" destId="{2ADA4984-81BC-4C52-852D-5C4F996E742F}" srcOrd="0" destOrd="0" presId="urn:microsoft.com/office/officeart/2005/8/layout/hierarchy1"/>
    <dgm:cxn modelId="{CEFBE5D1-3194-4957-994F-9871CF0210C4}" type="presParOf" srcId="{2ADA4984-81BC-4C52-852D-5C4F996E742F}" destId="{9E04FA81-7D37-4DD1-9A83-8A5D35587012}" srcOrd="0" destOrd="0" presId="urn:microsoft.com/office/officeart/2005/8/layout/hierarchy1"/>
    <dgm:cxn modelId="{0567A52A-0058-4D9F-8F6D-524619746EBE}" type="presParOf" srcId="{2ADA4984-81BC-4C52-852D-5C4F996E742F}" destId="{014A153D-D976-468D-B63C-A45582EED115}" srcOrd="1" destOrd="0" presId="urn:microsoft.com/office/officeart/2005/8/layout/hierarchy1"/>
    <dgm:cxn modelId="{DADE0A59-DDC5-4AFC-8948-D84ADD0618F9}" type="presParOf" srcId="{47D73AEB-0DA9-4545-9E99-BAB0B4EB25EB}" destId="{2F418DF4-2FC9-4F11-BBB3-9F5533FF2588}" srcOrd="1" destOrd="0" presId="urn:microsoft.com/office/officeart/2005/8/layout/hierarchy1"/>
    <dgm:cxn modelId="{7C98045E-3902-4FF0-A25A-B2B6DC6B19C2}" type="presParOf" srcId="{169B732E-9ECF-4F15-805C-EBAE8C4356D7}" destId="{15C8A153-2159-4071-8DB2-EAE307D5CFBA}" srcOrd="6" destOrd="0" presId="urn:microsoft.com/office/officeart/2005/8/layout/hierarchy1"/>
    <dgm:cxn modelId="{DB19932E-4CED-4568-87AB-20E2F101E811}" type="presParOf" srcId="{169B732E-9ECF-4F15-805C-EBAE8C4356D7}" destId="{F7D28212-C6A3-49A7-AFA3-68D174A0AE4C}" srcOrd="7" destOrd="0" presId="urn:microsoft.com/office/officeart/2005/8/layout/hierarchy1"/>
    <dgm:cxn modelId="{BF0B23B7-41B3-4FCC-877A-2FB68C102AE0}" type="presParOf" srcId="{F7D28212-C6A3-49A7-AFA3-68D174A0AE4C}" destId="{C80FB554-E04C-450A-B5B5-9F7F6CB78AB5}" srcOrd="0" destOrd="0" presId="urn:microsoft.com/office/officeart/2005/8/layout/hierarchy1"/>
    <dgm:cxn modelId="{834A241A-549C-4644-BF16-7DD921359268}" type="presParOf" srcId="{C80FB554-E04C-450A-B5B5-9F7F6CB78AB5}" destId="{D340AF50-6815-4B14-B435-8B36273EFF41}" srcOrd="0" destOrd="0" presId="urn:microsoft.com/office/officeart/2005/8/layout/hierarchy1"/>
    <dgm:cxn modelId="{741DC82C-90D4-46C7-BF81-0FD2B82D165D}" type="presParOf" srcId="{C80FB554-E04C-450A-B5B5-9F7F6CB78AB5}" destId="{63DB48DF-96C4-4AEA-A975-FBFA53E218CF}" srcOrd="1" destOrd="0" presId="urn:microsoft.com/office/officeart/2005/8/layout/hierarchy1"/>
    <dgm:cxn modelId="{08C5577C-83C0-4CAB-AC4E-ADB137D65E20}" type="presParOf" srcId="{F7D28212-C6A3-49A7-AFA3-68D174A0AE4C}" destId="{2641DB73-763C-4FEB-BA97-E15A1B230619}" srcOrd="1" destOrd="0" presId="urn:microsoft.com/office/officeart/2005/8/layout/hierarchy1"/>
    <dgm:cxn modelId="{99EE02F4-8BC8-4A73-92D8-DF2D6E2BAA18}" type="presParOf" srcId="{169B732E-9ECF-4F15-805C-EBAE8C4356D7}" destId="{D309606A-AA11-4A5A-AF35-B000098C2168}" srcOrd="8" destOrd="0" presId="urn:microsoft.com/office/officeart/2005/8/layout/hierarchy1"/>
    <dgm:cxn modelId="{F9EAF2A2-D3CC-4D11-8CE4-D7CAF29B53FC}" type="presParOf" srcId="{169B732E-9ECF-4F15-805C-EBAE8C4356D7}" destId="{056D6DA4-381C-4816-97CA-FAE7E626193D}" srcOrd="9" destOrd="0" presId="urn:microsoft.com/office/officeart/2005/8/layout/hierarchy1"/>
    <dgm:cxn modelId="{28E9AF67-4B1C-4A59-9F00-3E0DADBAB775}" type="presParOf" srcId="{056D6DA4-381C-4816-97CA-FAE7E626193D}" destId="{E61A3963-3C6A-4FD8-819C-02DAC728EF47}" srcOrd="0" destOrd="0" presId="urn:microsoft.com/office/officeart/2005/8/layout/hierarchy1"/>
    <dgm:cxn modelId="{E446BBD2-5B0B-495F-A036-9C16BC5688BA}" type="presParOf" srcId="{E61A3963-3C6A-4FD8-819C-02DAC728EF47}" destId="{BB5BAF35-3AF0-481A-A166-4508F6AC7494}" srcOrd="0" destOrd="0" presId="urn:microsoft.com/office/officeart/2005/8/layout/hierarchy1"/>
    <dgm:cxn modelId="{A0851633-EB06-4333-93E5-AB81180C44E7}" type="presParOf" srcId="{E61A3963-3C6A-4FD8-819C-02DAC728EF47}" destId="{86A038B7-C7C8-424D-B935-B61E9CC84669}" srcOrd="1" destOrd="0" presId="urn:microsoft.com/office/officeart/2005/8/layout/hierarchy1"/>
    <dgm:cxn modelId="{59CC2B18-88EB-4E2E-BC2E-4AA329F0A0E4}" type="presParOf" srcId="{056D6DA4-381C-4816-97CA-FAE7E626193D}" destId="{F8BE0AED-BB2B-49EC-8934-C28CC11B186D}" srcOrd="1" destOrd="0" presId="urn:microsoft.com/office/officeart/2005/8/layout/hierarchy1"/>
    <dgm:cxn modelId="{DE556DD0-5B0F-4F3D-A78D-71AD209B3E2E}" type="presParOf" srcId="{55E55FC7-A378-4355-B05D-A8FC4E906779}" destId="{5DED88A0-D8FF-42BE-B6CC-30219951473A}" srcOrd="2" destOrd="0" presId="urn:microsoft.com/office/officeart/2005/8/layout/hierarchy1"/>
    <dgm:cxn modelId="{A607FEBC-934E-4AB1-ACBD-972701968D3E}" type="presParOf" srcId="{5DED88A0-D8FF-42BE-B6CC-30219951473A}" destId="{07705E2A-02DC-48D4-A29B-45128F7B5E33}" srcOrd="0" destOrd="0" presId="urn:microsoft.com/office/officeart/2005/8/layout/hierarchy1"/>
    <dgm:cxn modelId="{88A97979-9795-4EC1-A391-18DD7D425DE1}" type="presParOf" srcId="{07705E2A-02DC-48D4-A29B-45128F7B5E33}" destId="{C0A25FEE-3625-498E-ABD4-69EEFFF9F514}" srcOrd="0" destOrd="0" presId="urn:microsoft.com/office/officeart/2005/8/layout/hierarchy1"/>
    <dgm:cxn modelId="{A63F4781-96C7-4274-8422-5CA783CD5654}" type="presParOf" srcId="{07705E2A-02DC-48D4-A29B-45128F7B5E33}" destId="{F5FF8D5B-9E0E-4A38-BF7A-BE45AD7B712B}" srcOrd="1" destOrd="0" presId="urn:microsoft.com/office/officeart/2005/8/layout/hierarchy1"/>
    <dgm:cxn modelId="{6B69D023-D10C-4EB2-B7DE-2D3FF0988C3B}" type="presParOf" srcId="{5DED88A0-D8FF-42BE-B6CC-30219951473A}" destId="{5E74CCCF-A569-4E82-8A9A-EB9B824B286A}" srcOrd="1" destOrd="0" presId="urn:microsoft.com/office/officeart/2005/8/layout/hierarchy1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1B04F3-1728-440B-A1FA-79DD21EF379F}">
      <dsp:nvSpPr>
        <dsp:cNvPr id="0" name=""/>
        <dsp:cNvSpPr/>
      </dsp:nvSpPr>
      <dsp:spPr>
        <a:xfrm>
          <a:off x="2910691" y="575168"/>
          <a:ext cx="1096249" cy="5217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5533"/>
              </a:lnTo>
              <a:lnTo>
                <a:pt x="1096249" y="355533"/>
              </a:lnTo>
              <a:lnTo>
                <a:pt x="1096249" y="521715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DA83CC-7A93-4081-8C7D-2E8E1C8879E1}">
      <dsp:nvSpPr>
        <dsp:cNvPr id="0" name=""/>
        <dsp:cNvSpPr/>
      </dsp:nvSpPr>
      <dsp:spPr>
        <a:xfrm>
          <a:off x="1814442" y="575168"/>
          <a:ext cx="1096249" cy="521715"/>
        </a:xfrm>
        <a:custGeom>
          <a:avLst/>
          <a:gdLst/>
          <a:ahLst/>
          <a:cxnLst/>
          <a:rect l="0" t="0" r="0" b="0"/>
          <a:pathLst>
            <a:path>
              <a:moveTo>
                <a:pt x="1096249" y="0"/>
              </a:moveTo>
              <a:lnTo>
                <a:pt x="1096249" y="355533"/>
              </a:lnTo>
              <a:lnTo>
                <a:pt x="0" y="355533"/>
              </a:lnTo>
              <a:lnTo>
                <a:pt x="0" y="521715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5C9890-0CD3-41BC-BCDD-4AEB056583DC}">
      <dsp:nvSpPr>
        <dsp:cNvPr id="0" name=""/>
        <dsp:cNvSpPr/>
      </dsp:nvSpPr>
      <dsp:spPr>
        <a:xfrm>
          <a:off x="2013760" y="627"/>
          <a:ext cx="1793863" cy="57454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E431E0-D6DF-4649-9398-3F47FF5BA5D4}">
      <dsp:nvSpPr>
        <dsp:cNvPr id="0" name=""/>
        <dsp:cNvSpPr/>
      </dsp:nvSpPr>
      <dsp:spPr>
        <a:xfrm>
          <a:off x="2213078" y="189979"/>
          <a:ext cx="1793863" cy="57454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Thermo</a:t>
          </a:r>
          <a:r>
            <a:rPr lang="en-US" sz="1800" kern="1200"/>
            <a:t> Fisher Scientific</a:t>
          </a:r>
        </a:p>
      </dsp:txBody>
      <dsp:txXfrm>
        <a:off x="2229906" y="206807"/>
        <a:ext cx="1760207" cy="540884"/>
      </dsp:txXfrm>
    </dsp:sp>
    <dsp:sp modelId="{D7BF4D12-4915-4544-9389-C4C22194A6C7}">
      <dsp:nvSpPr>
        <dsp:cNvPr id="0" name=""/>
        <dsp:cNvSpPr/>
      </dsp:nvSpPr>
      <dsp:spPr>
        <a:xfrm>
          <a:off x="917510" y="1096883"/>
          <a:ext cx="1793863" cy="1139103"/>
        </a:xfrm>
        <a:prstGeom prst="roundRect">
          <a:avLst>
            <a:gd name="adj" fmla="val 10000"/>
          </a:avLst>
        </a:prstGeom>
        <a:solidFill>
          <a:srgbClr val="F15D03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9D283E95-C037-4EDD-8652-05F58F7A1D59}">
      <dsp:nvSpPr>
        <dsp:cNvPr id="0" name=""/>
        <dsp:cNvSpPr/>
      </dsp:nvSpPr>
      <dsp:spPr>
        <a:xfrm>
          <a:off x="1116828" y="1286236"/>
          <a:ext cx="1793863" cy="11391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oux Erlangen (Germany)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[Electronics Development]</a:t>
          </a:r>
        </a:p>
      </dsp:txBody>
      <dsp:txXfrm>
        <a:off x="1150191" y="1319599"/>
        <a:ext cx="1727137" cy="1072377"/>
      </dsp:txXfrm>
    </dsp:sp>
    <dsp:sp modelId="{3AB3E92E-57D7-413A-8E1C-EC2ED5B9E16C}">
      <dsp:nvSpPr>
        <dsp:cNvPr id="0" name=""/>
        <dsp:cNvSpPr/>
      </dsp:nvSpPr>
      <dsp:spPr>
        <a:xfrm>
          <a:off x="3110010" y="1096883"/>
          <a:ext cx="1793863" cy="1139103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B5E6CF-7EA6-4230-9638-72F9455676FD}">
      <dsp:nvSpPr>
        <dsp:cNvPr id="0" name=""/>
        <dsp:cNvSpPr/>
      </dsp:nvSpPr>
      <dsp:spPr>
        <a:xfrm>
          <a:off x="3309328" y="1286236"/>
          <a:ext cx="1793863" cy="11391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oux Eindhoven [Mechanical Design / Thermal Analysis]</a:t>
          </a:r>
        </a:p>
      </dsp:txBody>
      <dsp:txXfrm>
        <a:off x="3342691" y="1319599"/>
        <a:ext cx="1727137" cy="10723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0D14E6-EB2F-4170-9879-4086B935EECF}">
      <dsp:nvSpPr>
        <dsp:cNvPr id="0" name=""/>
        <dsp:cNvSpPr/>
      </dsp:nvSpPr>
      <dsp:spPr>
        <a:xfrm>
          <a:off x="2713192" y="848761"/>
          <a:ext cx="710171" cy="337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321"/>
              </a:lnTo>
              <a:lnTo>
                <a:pt x="710171" y="230321"/>
              </a:lnTo>
              <a:lnTo>
                <a:pt x="710171" y="33797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9BBA54-156D-4229-9FC3-91CB2E3ABA9F}">
      <dsp:nvSpPr>
        <dsp:cNvPr id="0" name=""/>
        <dsp:cNvSpPr/>
      </dsp:nvSpPr>
      <dsp:spPr>
        <a:xfrm>
          <a:off x="3423364" y="3000581"/>
          <a:ext cx="1420343" cy="337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321"/>
              </a:lnTo>
              <a:lnTo>
                <a:pt x="1420343" y="230321"/>
              </a:lnTo>
              <a:lnTo>
                <a:pt x="1420343" y="337977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ABD80D-8034-4B17-B022-C295CB2573D0}">
      <dsp:nvSpPr>
        <dsp:cNvPr id="0" name=""/>
        <dsp:cNvSpPr/>
      </dsp:nvSpPr>
      <dsp:spPr>
        <a:xfrm>
          <a:off x="3377644" y="3000581"/>
          <a:ext cx="91440" cy="33797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797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C6FAA2-2808-4455-B139-7A8BA56E2319}">
      <dsp:nvSpPr>
        <dsp:cNvPr id="0" name=""/>
        <dsp:cNvSpPr/>
      </dsp:nvSpPr>
      <dsp:spPr>
        <a:xfrm>
          <a:off x="2003021" y="3000581"/>
          <a:ext cx="1420343" cy="337977"/>
        </a:xfrm>
        <a:custGeom>
          <a:avLst/>
          <a:gdLst/>
          <a:ahLst/>
          <a:cxnLst/>
          <a:rect l="0" t="0" r="0" b="0"/>
          <a:pathLst>
            <a:path>
              <a:moveTo>
                <a:pt x="1420343" y="0"/>
              </a:moveTo>
              <a:lnTo>
                <a:pt x="1420343" y="230321"/>
              </a:lnTo>
              <a:lnTo>
                <a:pt x="0" y="230321"/>
              </a:lnTo>
              <a:lnTo>
                <a:pt x="0" y="337977"/>
              </a:lnTo>
            </a:path>
          </a:pathLst>
        </a:cu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1C9F3F-EDA8-4D98-8CFB-E7E1999B2B07}">
      <dsp:nvSpPr>
        <dsp:cNvPr id="0" name=""/>
        <dsp:cNvSpPr/>
      </dsp:nvSpPr>
      <dsp:spPr>
        <a:xfrm>
          <a:off x="2003021" y="1924671"/>
          <a:ext cx="1420343" cy="337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321"/>
              </a:lnTo>
              <a:lnTo>
                <a:pt x="1420343" y="230321"/>
              </a:lnTo>
              <a:lnTo>
                <a:pt x="1420343" y="337977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6B9916-F692-4B30-B914-729FA90B41A5}">
      <dsp:nvSpPr>
        <dsp:cNvPr id="0" name=""/>
        <dsp:cNvSpPr/>
      </dsp:nvSpPr>
      <dsp:spPr>
        <a:xfrm>
          <a:off x="1957301" y="1924671"/>
          <a:ext cx="91440" cy="33797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7977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956D68-33CC-4A9F-9D5B-F45DD5028DFB}">
      <dsp:nvSpPr>
        <dsp:cNvPr id="0" name=""/>
        <dsp:cNvSpPr/>
      </dsp:nvSpPr>
      <dsp:spPr>
        <a:xfrm>
          <a:off x="582677" y="1924671"/>
          <a:ext cx="1420343" cy="337977"/>
        </a:xfrm>
        <a:custGeom>
          <a:avLst/>
          <a:gdLst/>
          <a:ahLst/>
          <a:cxnLst/>
          <a:rect l="0" t="0" r="0" b="0"/>
          <a:pathLst>
            <a:path>
              <a:moveTo>
                <a:pt x="1420343" y="0"/>
              </a:moveTo>
              <a:lnTo>
                <a:pt x="1420343" y="230321"/>
              </a:lnTo>
              <a:lnTo>
                <a:pt x="0" y="230321"/>
              </a:lnTo>
              <a:lnTo>
                <a:pt x="0" y="337977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68CA3E-7A81-46CC-896E-DDE17FBCFC24}">
      <dsp:nvSpPr>
        <dsp:cNvPr id="0" name=""/>
        <dsp:cNvSpPr/>
      </dsp:nvSpPr>
      <dsp:spPr>
        <a:xfrm>
          <a:off x="2003021" y="848761"/>
          <a:ext cx="710171" cy="337977"/>
        </a:xfrm>
        <a:custGeom>
          <a:avLst/>
          <a:gdLst/>
          <a:ahLst/>
          <a:cxnLst/>
          <a:rect l="0" t="0" r="0" b="0"/>
          <a:pathLst>
            <a:path>
              <a:moveTo>
                <a:pt x="710171" y="0"/>
              </a:moveTo>
              <a:lnTo>
                <a:pt x="710171" y="230321"/>
              </a:lnTo>
              <a:lnTo>
                <a:pt x="0" y="230321"/>
              </a:lnTo>
              <a:lnTo>
                <a:pt x="0" y="33797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FC9D72-2A73-4977-9511-A5637E39F567}">
      <dsp:nvSpPr>
        <dsp:cNvPr id="0" name=""/>
        <dsp:cNvSpPr/>
      </dsp:nvSpPr>
      <dsp:spPr>
        <a:xfrm>
          <a:off x="1864302" y="458143"/>
          <a:ext cx="1697780" cy="39061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6E73B1-CB65-451D-A8F1-84195A2FAC15}">
      <dsp:nvSpPr>
        <dsp:cNvPr id="0" name=""/>
        <dsp:cNvSpPr/>
      </dsp:nvSpPr>
      <dsp:spPr>
        <a:xfrm>
          <a:off x="1993424" y="580809"/>
          <a:ext cx="1697780" cy="3906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TFS Sensor head</a:t>
          </a:r>
        </a:p>
      </dsp:txBody>
      <dsp:txXfrm>
        <a:off x="2004865" y="592250"/>
        <a:ext cx="1674898" cy="367735"/>
      </dsp:txXfrm>
    </dsp:sp>
    <dsp:sp modelId="{8968AC92-A81F-4FBF-886A-EBF42691F4E5}">
      <dsp:nvSpPr>
        <dsp:cNvPr id="0" name=""/>
        <dsp:cNvSpPr/>
      </dsp:nvSpPr>
      <dsp:spPr>
        <a:xfrm>
          <a:off x="1421971" y="1186738"/>
          <a:ext cx="1162099" cy="737933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618A7F-4067-4EAA-A026-8CC86EDD55CD}">
      <dsp:nvSpPr>
        <dsp:cNvPr id="0" name=""/>
        <dsp:cNvSpPr/>
      </dsp:nvSpPr>
      <dsp:spPr>
        <a:xfrm>
          <a:off x="1551093" y="1309404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[S-WP]</a:t>
          </a:r>
        </a:p>
      </dsp:txBody>
      <dsp:txXfrm>
        <a:off x="1572706" y="1331017"/>
        <a:ext cx="1118873" cy="694707"/>
      </dsp:txXfrm>
    </dsp:sp>
    <dsp:sp modelId="{52F364C9-FEF0-4C93-B6B0-61EE2197B04F}">
      <dsp:nvSpPr>
        <dsp:cNvPr id="0" name=""/>
        <dsp:cNvSpPr/>
      </dsp:nvSpPr>
      <dsp:spPr>
        <a:xfrm>
          <a:off x="1627" y="2262648"/>
          <a:ext cx="1162099" cy="7379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8C97CA-5681-431F-A488-7DB5D5A1B745}">
      <dsp:nvSpPr>
        <dsp:cNvPr id="0" name=""/>
        <dsp:cNvSpPr/>
      </dsp:nvSpPr>
      <dsp:spPr>
        <a:xfrm>
          <a:off x="130749" y="2385314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-WP1]</a:t>
          </a:r>
        </a:p>
      </dsp:txBody>
      <dsp:txXfrm>
        <a:off x="152362" y="2406927"/>
        <a:ext cx="1118873" cy="694707"/>
      </dsp:txXfrm>
    </dsp:sp>
    <dsp:sp modelId="{20E343A7-28AD-4636-B933-F7D3EF402314}">
      <dsp:nvSpPr>
        <dsp:cNvPr id="0" name=""/>
        <dsp:cNvSpPr/>
      </dsp:nvSpPr>
      <dsp:spPr>
        <a:xfrm>
          <a:off x="1421971" y="2262648"/>
          <a:ext cx="1162099" cy="7379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AE2736-DBA7-4DE2-866D-A018FABF44F5}">
      <dsp:nvSpPr>
        <dsp:cNvPr id="0" name=""/>
        <dsp:cNvSpPr/>
      </dsp:nvSpPr>
      <dsp:spPr>
        <a:xfrm>
          <a:off x="1551093" y="2385314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-WP2]</a:t>
          </a:r>
        </a:p>
      </dsp:txBody>
      <dsp:txXfrm>
        <a:off x="1572706" y="2406927"/>
        <a:ext cx="1118873" cy="694707"/>
      </dsp:txXfrm>
    </dsp:sp>
    <dsp:sp modelId="{8132B87B-DA8E-4474-9914-00020270F0E4}">
      <dsp:nvSpPr>
        <dsp:cNvPr id="0" name=""/>
        <dsp:cNvSpPr/>
      </dsp:nvSpPr>
      <dsp:spPr>
        <a:xfrm>
          <a:off x="2842315" y="2262648"/>
          <a:ext cx="1162099" cy="7379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5B7725-86B0-4A0C-9D12-DC9374FE3877}">
      <dsp:nvSpPr>
        <dsp:cNvPr id="0" name=""/>
        <dsp:cNvSpPr/>
      </dsp:nvSpPr>
      <dsp:spPr>
        <a:xfrm>
          <a:off x="2971437" y="2385314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-WP3]</a:t>
          </a:r>
        </a:p>
      </dsp:txBody>
      <dsp:txXfrm>
        <a:off x="2993050" y="2406927"/>
        <a:ext cx="1118873" cy="694707"/>
      </dsp:txXfrm>
    </dsp:sp>
    <dsp:sp modelId="{7922CD79-27EB-40EF-8A0F-9191195965E0}">
      <dsp:nvSpPr>
        <dsp:cNvPr id="0" name=""/>
        <dsp:cNvSpPr/>
      </dsp:nvSpPr>
      <dsp:spPr>
        <a:xfrm>
          <a:off x="1421971" y="3338559"/>
          <a:ext cx="1162099" cy="737933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1FC335-1BB6-4A03-8DF4-1B5FF440D221}">
      <dsp:nvSpPr>
        <dsp:cNvPr id="0" name=""/>
        <dsp:cNvSpPr/>
      </dsp:nvSpPr>
      <dsp:spPr>
        <a:xfrm>
          <a:off x="1551093" y="3461225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-WP3.1]</a:t>
          </a:r>
        </a:p>
      </dsp:txBody>
      <dsp:txXfrm>
        <a:off x="1572706" y="3482838"/>
        <a:ext cx="1118873" cy="694707"/>
      </dsp:txXfrm>
    </dsp:sp>
    <dsp:sp modelId="{1C1D5978-74BE-4EFE-98E8-0730B4B18C26}">
      <dsp:nvSpPr>
        <dsp:cNvPr id="0" name=""/>
        <dsp:cNvSpPr/>
      </dsp:nvSpPr>
      <dsp:spPr>
        <a:xfrm>
          <a:off x="2842315" y="3338559"/>
          <a:ext cx="1162099" cy="737933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87B594-E473-4CC5-A7ED-6C28DE28D8A2}">
      <dsp:nvSpPr>
        <dsp:cNvPr id="0" name=""/>
        <dsp:cNvSpPr/>
      </dsp:nvSpPr>
      <dsp:spPr>
        <a:xfrm>
          <a:off x="2971437" y="3461225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-WP3.2]</a:t>
          </a:r>
        </a:p>
      </dsp:txBody>
      <dsp:txXfrm>
        <a:off x="2993050" y="3482838"/>
        <a:ext cx="1118873" cy="694707"/>
      </dsp:txXfrm>
    </dsp:sp>
    <dsp:sp modelId="{E89CBBA2-21BA-4F4D-8A72-93290C2EDB75}">
      <dsp:nvSpPr>
        <dsp:cNvPr id="0" name=""/>
        <dsp:cNvSpPr/>
      </dsp:nvSpPr>
      <dsp:spPr>
        <a:xfrm>
          <a:off x="4262658" y="3338559"/>
          <a:ext cx="1162099" cy="737933"/>
        </a:xfrm>
        <a:prstGeom prst="roundRect">
          <a:avLst>
            <a:gd name="adj" fmla="val 10000"/>
          </a:avLst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F7AFC-EA16-4D31-BAAE-F728DF8768B7}">
      <dsp:nvSpPr>
        <dsp:cNvPr id="0" name=""/>
        <dsp:cNvSpPr/>
      </dsp:nvSpPr>
      <dsp:spPr>
        <a:xfrm>
          <a:off x="4391780" y="3461225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O-WP]</a:t>
          </a:r>
        </a:p>
      </dsp:txBody>
      <dsp:txXfrm>
        <a:off x="4413393" y="3482838"/>
        <a:ext cx="1118873" cy="694707"/>
      </dsp:txXfrm>
    </dsp:sp>
    <dsp:sp modelId="{4A53B5E7-63A7-4218-9EE3-D77BE5415CE0}">
      <dsp:nvSpPr>
        <dsp:cNvPr id="0" name=""/>
        <dsp:cNvSpPr/>
      </dsp:nvSpPr>
      <dsp:spPr>
        <a:xfrm>
          <a:off x="2842315" y="1186738"/>
          <a:ext cx="1162099" cy="73793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DA4F64-9D9D-49A8-A56B-E15DA1B209B4}">
      <dsp:nvSpPr>
        <dsp:cNvPr id="0" name=""/>
        <dsp:cNvSpPr/>
      </dsp:nvSpPr>
      <dsp:spPr>
        <a:xfrm>
          <a:off x="2971437" y="1309404"/>
          <a:ext cx="1162099" cy="737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P2-WP]</a:t>
          </a:r>
        </a:p>
      </dsp:txBody>
      <dsp:txXfrm>
        <a:off x="2993050" y="1331017"/>
        <a:ext cx="1118873" cy="6947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0BF264-E4EF-4E9E-BFED-B467DB80D1B4}">
      <dsp:nvSpPr>
        <dsp:cNvPr id="0" name=""/>
        <dsp:cNvSpPr/>
      </dsp:nvSpPr>
      <dsp:spPr>
        <a:xfrm>
          <a:off x="3497609" y="1777834"/>
          <a:ext cx="91440" cy="33083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08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667659-536F-46B2-8A30-C170A47346B7}">
      <dsp:nvSpPr>
        <dsp:cNvPr id="0" name=""/>
        <dsp:cNvSpPr/>
      </dsp:nvSpPr>
      <dsp:spPr>
        <a:xfrm>
          <a:off x="2500587" y="724665"/>
          <a:ext cx="1042741" cy="330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453"/>
              </a:lnTo>
              <a:lnTo>
                <a:pt x="1042741" y="225453"/>
              </a:lnTo>
              <a:lnTo>
                <a:pt x="1042741" y="3308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CE1916-F673-475A-A0D3-82087B5C0F4D}">
      <dsp:nvSpPr>
        <dsp:cNvPr id="0" name=""/>
        <dsp:cNvSpPr/>
      </dsp:nvSpPr>
      <dsp:spPr>
        <a:xfrm>
          <a:off x="1457846" y="1777834"/>
          <a:ext cx="695160" cy="3308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5453"/>
              </a:lnTo>
              <a:lnTo>
                <a:pt x="695160" y="225453"/>
              </a:lnTo>
              <a:lnTo>
                <a:pt x="695160" y="3308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6D4E20-ECAA-4F04-BFB2-82A1242B1A3C}">
      <dsp:nvSpPr>
        <dsp:cNvPr id="0" name=""/>
        <dsp:cNvSpPr/>
      </dsp:nvSpPr>
      <dsp:spPr>
        <a:xfrm>
          <a:off x="762685" y="1777834"/>
          <a:ext cx="695160" cy="330833"/>
        </a:xfrm>
        <a:custGeom>
          <a:avLst/>
          <a:gdLst/>
          <a:ahLst/>
          <a:cxnLst/>
          <a:rect l="0" t="0" r="0" b="0"/>
          <a:pathLst>
            <a:path>
              <a:moveTo>
                <a:pt x="695160" y="0"/>
              </a:moveTo>
              <a:lnTo>
                <a:pt x="695160" y="225453"/>
              </a:lnTo>
              <a:lnTo>
                <a:pt x="0" y="225453"/>
              </a:lnTo>
              <a:lnTo>
                <a:pt x="0" y="33083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BACD7D-AD9B-47D3-8EF9-31265486257E}">
      <dsp:nvSpPr>
        <dsp:cNvPr id="0" name=""/>
        <dsp:cNvSpPr/>
      </dsp:nvSpPr>
      <dsp:spPr>
        <a:xfrm>
          <a:off x="1457846" y="724665"/>
          <a:ext cx="1042741" cy="330833"/>
        </a:xfrm>
        <a:custGeom>
          <a:avLst/>
          <a:gdLst/>
          <a:ahLst/>
          <a:cxnLst/>
          <a:rect l="0" t="0" r="0" b="0"/>
          <a:pathLst>
            <a:path>
              <a:moveTo>
                <a:pt x="1042741" y="0"/>
              </a:moveTo>
              <a:lnTo>
                <a:pt x="1042741" y="225453"/>
              </a:lnTo>
              <a:lnTo>
                <a:pt x="0" y="225453"/>
              </a:lnTo>
              <a:lnTo>
                <a:pt x="0" y="3308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591E1-51A9-46BA-9B0E-8256BD879458}">
      <dsp:nvSpPr>
        <dsp:cNvPr id="0" name=""/>
        <dsp:cNvSpPr/>
      </dsp:nvSpPr>
      <dsp:spPr>
        <a:xfrm>
          <a:off x="1931820" y="2330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CD4A5F-22D1-405B-A7D4-AE7A1FC6F014}">
      <dsp:nvSpPr>
        <dsp:cNvPr id="0" name=""/>
        <dsp:cNvSpPr/>
      </dsp:nvSpPr>
      <dsp:spPr>
        <a:xfrm>
          <a:off x="2058212" y="122403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2079368" y="143559"/>
        <a:ext cx="1095223" cy="680023"/>
      </dsp:txXfrm>
    </dsp:sp>
    <dsp:sp modelId="{DA95CF08-1727-4A80-AADA-AF0267804F38}">
      <dsp:nvSpPr>
        <dsp:cNvPr id="0" name=""/>
        <dsp:cNvSpPr/>
      </dsp:nvSpPr>
      <dsp:spPr>
        <a:xfrm>
          <a:off x="889078" y="1055499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804261-15F1-48E3-ABAE-91A8ED357BFC}">
      <dsp:nvSpPr>
        <dsp:cNvPr id="0" name=""/>
        <dsp:cNvSpPr/>
      </dsp:nvSpPr>
      <dsp:spPr>
        <a:xfrm>
          <a:off x="1015471" y="1175572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036627" y="1196728"/>
        <a:ext cx="1095223" cy="680023"/>
      </dsp:txXfrm>
    </dsp:sp>
    <dsp:sp modelId="{371FA2CB-8194-4E26-BCBF-2C9C0ACCFB80}">
      <dsp:nvSpPr>
        <dsp:cNvPr id="0" name=""/>
        <dsp:cNvSpPr/>
      </dsp:nvSpPr>
      <dsp:spPr>
        <a:xfrm>
          <a:off x="193917" y="2108667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A70243-488E-452C-8B8A-F1FF8D0446C7}">
      <dsp:nvSpPr>
        <dsp:cNvPr id="0" name=""/>
        <dsp:cNvSpPr/>
      </dsp:nvSpPr>
      <dsp:spPr>
        <a:xfrm>
          <a:off x="320310" y="2228741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41466" y="2249897"/>
        <a:ext cx="1095223" cy="680023"/>
      </dsp:txXfrm>
    </dsp:sp>
    <dsp:sp modelId="{CC70F977-2067-4190-8A28-593B291C7825}">
      <dsp:nvSpPr>
        <dsp:cNvPr id="0" name=""/>
        <dsp:cNvSpPr/>
      </dsp:nvSpPr>
      <dsp:spPr>
        <a:xfrm>
          <a:off x="1584239" y="2108667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F8EE5-775A-41F8-A3A4-B9EAA54A7C14}">
      <dsp:nvSpPr>
        <dsp:cNvPr id="0" name=""/>
        <dsp:cNvSpPr/>
      </dsp:nvSpPr>
      <dsp:spPr>
        <a:xfrm>
          <a:off x="1710632" y="2228741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731788" y="2249897"/>
        <a:ext cx="1095223" cy="680023"/>
      </dsp:txXfrm>
    </dsp:sp>
    <dsp:sp modelId="{16C97C11-516E-432A-9E4F-715787956126}">
      <dsp:nvSpPr>
        <dsp:cNvPr id="0" name=""/>
        <dsp:cNvSpPr/>
      </dsp:nvSpPr>
      <dsp:spPr>
        <a:xfrm>
          <a:off x="2974561" y="1055499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D34D6A-88A0-49C7-8838-FCD832F11449}">
      <dsp:nvSpPr>
        <dsp:cNvPr id="0" name=""/>
        <dsp:cNvSpPr/>
      </dsp:nvSpPr>
      <dsp:spPr>
        <a:xfrm>
          <a:off x="3100954" y="1175572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122110" y="1196728"/>
        <a:ext cx="1095223" cy="680023"/>
      </dsp:txXfrm>
    </dsp:sp>
    <dsp:sp modelId="{9F16E53D-3794-415F-80C8-A290EBEE2001}">
      <dsp:nvSpPr>
        <dsp:cNvPr id="0" name=""/>
        <dsp:cNvSpPr/>
      </dsp:nvSpPr>
      <dsp:spPr>
        <a:xfrm>
          <a:off x="2974561" y="2108667"/>
          <a:ext cx="1137535" cy="7223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6478E6-33AE-4054-90E1-F68CA454C232}">
      <dsp:nvSpPr>
        <dsp:cNvPr id="0" name=""/>
        <dsp:cNvSpPr/>
      </dsp:nvSpPr>
      <dsp:spPr>
        <a:xfrm>
          <a:off x="3100954" y="2228741"/>
          <a:ext cx="1137535" cy="7223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122110" y="2249897"/>
        <a:ext cx="1095223" cy="68002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667659-536F-46B2-8A30-C170A47346B7}">
      <dsp:nvSpPr>
        <dsp:cNvPr id="0" name=""/>
        <dsp:cNvSpPr/>
      </dsp:nvSpPr>
      <dsp:spPr>
        <a:xfrm>
          <a:off x="1715748" y="733288"/>
          <a:ext cx="705523" cy="3357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8814"/>
              </a:lnTo>
              <a:lnTo>
                <a:pt x="705523" y="228814"/>
              </a:lnTo>
              <a:lnTo>
                <a:pt x="705523" y="3357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BACD7D-AD9B-47D3-8EF9-31265486257E}">
      <dsp:nvSpPr>
        <dsp:cNvPr id="0" name=""/>
        <dsp:cNvSpPr/>
      </dsp:nvSpPr>
      <dsp:spPr>
        <a:xfrm>
          <a:off x="1010224" y="733288"/>
          <a:ext cx="705523" cy="335764"/>
        </a:xfrm>
        <a:custGeom>
          <a:avLst/>
          <a:gdLst/>
          <a:ahLst/>
          <a:cxnLst/>
          <a:rect l="0" t="0" r="0" b="0"/>
          <a:pathLst>
            <a:path>
              <a:moveTo>
                <a:pt x="705523" y="0"/>
              </a:moveTo>
              <a:lnTo>
                <a:pt x="705523" y="228814"/>
              </a:lnTo>
              <a:lnTo>
                <a:pt x="0" y="228814"/>
              </a:lnTo>
              <a:lnTo>
                <a:pt x="0" y="3357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591E1-51A9-46BA-9B0E-8256BD879458}">
      <dsp:nvSpPr>
        <dsp:cNvPr id="0" name=""/>
        <dsp:cNvSpPr/>
      </dsp:nvSpPr>
      <dsp:spPr>
        <a:xfrm>
          <a:off x="1138501" y="185"/>
          <a:ext cx="1154492" cy="7331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CD4A5F-22D1-405B-A7D4-AE7A1FC6F014}">
      <dsp:nvSpPr>
        <dsp:cNvPr id="0" name=""/>
        <dsp:cNvSpPr/>
      </dsp:nvSpPr>
      <dsp:spPr>
        <a:xfrm>
          <a:off x="1266778" y="122048"/>
          <a:ext cx="1154492" cy="7331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288250" y="143520"/>
        <a:ext cx="1111548" cy="690158"/>
      </dsp:txXfrm>
    </dsp:sp>
    <dsp:sp modelId="{DA95CF08-1727-4A80-AADA-AF0267804F38}">
      <dsp:nvSpPr>
        <dsp:cNvPr id="0" name=""/>
        <dsp:cNvSpPr/>
      </dsp:nvSpPr>
      <dsp:spPr>
        <a:xfrm>
          <a:off x="432978" y="1069053"/>
          <a:ext cx="1154492" cy="7331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804261-15F1-48E3-ABAE-91A8ED357BFC}">
      <dsp:nvSpPr>
        <dsp:cNvPr id="0" name=""/>
        <dsp:cNvSpPr/>
      </dsp:nvSpPr>
      <dsp:spPr>
        <a:xfrm>
          <a:off x="561255" y="1190916"/>
          <a:ext cx="1154492" cy="7331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582727" y="1212388"/>
        <a:ext cx="1111548" cy="690158"/>
      </dsp:txXfrm>
    </dsp:sp>
    <dsp:sp modelId="{16C97C11-516E-432A-9E4F-715787956126}">
      <dsp:nvSpPr>
        <dsp:cNvPr id="0" name=""/>
        <dsp:cNvSpPr/>
      </dsp:nvSpPr>
      <dsp:spPr>
        <a:xfrm>
          <a:off x="1844024" y="1069053"/>
          <a:ext cx="1154492" cy="7331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D34D6A-88A0-49C7-8838-FCD832F11449}">
      <dsp:nvSpPr>
        <dsp:cNvPr id="0" name=""/>
        <dsp:cNvSpPr/>
      </dsp:nvSpPr>
      <dsp:spPr>
        <a:xfrm>
          <a:off x="1972301" y="1190916"/>
          <a:ext cx="1154492" cy="7331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993773" y="1212388"/>
        <a:ext cx="1111548" cy="6901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209A22-422D-4645-9672-2FB306F40C3B}">
      <dsp:nvSpPr>
        <dsp:cNvPr id="0" name=""/>
        <dsp:cNvSpPr/>
      </dsp:nvSpPr>
      <dsp:spPr>
        <a:xfrm>
          <a:off x="1872443" y="885172"/>
          <a:ext cx="1328830" cy="3162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5481"/>
              </a:lnTo>
              <a:lnTo>
                <a:pt x="1328830" y="215481"/>
              </a:lnTo>
              <a:lnTo>
                <a:pt x="1328830" y="3162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667659-536F-46B2-8A30-C170A47346B7}">
      <dsp:nvSpPr>
        <dsp:cNvPr id="0" name=""/>
        <dsp:cNvSpPr/>
      </dsp:nvSpPr>
      <dsp:spPr>
        <a:xfrm>
          <a:off x="1826723" y="885172"/>
          <a:ext cx="91440" cy="3162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62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BACD7D-AD9B-47D3-8EF9-31265486257E}">
      <dsp:nvSpPr>
        <dsp:cNvPr id="0" name=""/>
        <dsp:cNvSpPr/>
      </dsp:nvSpPr>
      <dsp:spPr>
        <a:xfrm>
          <a:off x="543612" y="885172"/>
          <a:ext cx="1328830" cy="316201"/>
        </a:xfrm>
        <a:custGeom>
          <a:avLst/>
          <a:gdLst/>
          <a:ahLst/>
          <a:cxnLst/>
          <a:rect l="0" t="0" r="0" b="0"/>
          <a:pathLst>
            <a:path>
              <a:moveTo>
                <a:pt x="1328830" y="0"/>
              </a:moveTo>
              <a:lnTo>
                <a:pt x="1328830" y="215481"/>
              </a:lnTo>
              <a:lnTo>
                <a:pt x="0" y="215481"/>
              </a:lnTo>
              <a:lnTo>
                <a:pt x="0" y="31620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591E1-51A9-46BA-9B0E-8256BD879458}">
      <dsp:nvSpPr>
        <dsp:cNvPr id="0" name=""/>
        <dsp:cNvSpPr/>
      </dsp:nvSpPr>
      <dsp:spPr>
        <a:xfrm>
          <a:off x="1328830" y="194784"/>
          <a:ext cx="1087225" cy="6903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CD4A5F-22D1-405B-A7D4-AE7A1FC6F014}">
      <dsp:nvSpPr>
        <dsp:cNvPr id="0" name=""/>
        <dsp:cNvSpPr/>
      </dsp:nvSpPr>
      <dsp:spPr>
        <a:xfrm>
          <a:off x="1449633" y="309546"/>
          <a:ext cx="1087225" cy="6903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469854" y="329767"/>
        <a:ext cx="1046783" cy="649945"/>
      </dsp:txXfrm>
    </dsp:sp>
    <dsp:sp modelId="{DA95CF08-1727-4A80-AADA-AF0267804F38}">
      <dsp:nvSpPr>
        <dsp:cNvPr id="0" name=""/>
        <dsp:cNvSpPr/>
      </dsp:nvSpPr>
      <dsp:spPr>
        <a:xfrm>
          <a:off x="0" y="1201373"/>
          <a:ext cx="1087225" cy="6903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804261-15F1-48E3-ABAE-91A8ED357BFC}">
      <dsp:nvSpPr>
        <dsp:cNvPr id="0" name=""/>
        <dsp:cNvSpPr/>
      </dsp:nvSpPr>
      <dsp:spPr>
        <a:xfrm>
          <a:off x="120802" y="1316135"/>
          <a:ext cx="1087225" cy="6903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41023" y="1336356"/>
        <a:ext cx="1046783" cy="649945"/>
      </dsp:txXfrm>
    </dsp:sp>
    <dsp:sp modelId="{16C97C11-516E-432A-9E4F-715787956126}">
      <dsp:nvSpPr>
        <dsp:cNvPr id="0" name=""/>
        <dsp:cNvSpPr/>
      </dsp:nvSpPr>
      <dsp:spPr>
        <a:xfrm>
          <a:off x="1328830" y="1201373"/>
          <a:ext cx="1087225" cy="6903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D34D6A-88A0-49C7-8838-FCD832F11449}">
      <dsp:nvSpPr>
        <dsp:cNvPr id="0" name=""/>
        <dsp:cNvSpPr/>
      </dsp:nvSpPr>
      <dsp:spPr>
        <a:xfrm>
          <a:off x="1449633" y="1316135"/>
          <a:ext cx="1087225" cy="6903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469854" y="1336356"/>
        <a:ext cx="1046783" cy="649945"/>
      </dsp:txXfrm>
    </dsp:sp>
    <dsp:sp modelId="{843F3AD3-A895-42D2-8252-F6AFB47D5F0F}">
      <dsp:nvSpPr>
        <dsp:cNvPr id="0" name=""/>
        <dsp:cNvSpPr/>
      </dsp:nvSpPr>
      <dsp:spPr>
        <a:xfrm>
          <a:off x="2657661" y="1201373"/>
          <a:ext cx="1087225" cy="6903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8ACD05-B7E8-4D33-95CC-E7F98634FCAC}">
      <dsp:nvSpPr>
        <dsp:cNvPr id="0" name=""/>
        <dsp:cNvSpPr/>
      </dsp:nvSpPr>
      <dsp:spPr>
        <a:xfrm>
          <a:off x="2778463" y="1316135"/>
          <a:ext cx="1087225" cy="6903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[Text]</a:t>
          </a:r>
        </a:p>
      </dsp:txBody>
      <dsp:txXfrm>
        <a:off x="2798684" y="1336356"/>
        <a:ext cx="1046783" cy="6499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9606A-AA11-4A5A-AF35-B000098C2168}">
      <dsp:nvSpPr>
        <dsp:cNvPr id="0" name=""/>
        <dsp:cNvSpPr/>
      </dsp:nvSpPr>
      <dsp:spPr>
        <a:xfrm>
          <a:off x="5709439" y="2391278"/>
          <a:ext cx="4736610" cy="563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4042"/>
              </a:lnTo>
              <a:lnTo>
                <a:pt x="4736610" y="384042"/>
              </a:lnTo>
              <a:lnTo>
                <a:pt x="4736610" y="563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C8A153-2159-4071-8DB2-EAE307D5CFBA}">
      <dsp:nvSpPr>
        <dsp:cNvPr id="0" name=""/>
        <dsp:cNvSpPr/>
      </dsp:nvSpPr>
      <dsp:spPr>
        <a:xfrm>
          <a:off x="5709439" y="2391278"/>
          <a:ext cx="2368305" cy="563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4042"/>
              </a:lnTo>
              <a:lnTo>
                <a:pt x="2368305" y="384042"/>
              </a:lnTo>
              <a:lnTo>
                <a:pt x="2368305" y="563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092E95-C6B4-46A6-9B01-A867312F2618}">
      <dsp:nvSpPr>
        <dsp:cNvPr id="0" name=""/>
        <dsp:cNvSpPr/>
      </dsp:nvSpPr>
      <dsp:spPr>
        <a:xfrm>
          <a:off x="5663719" y="2391278"/>
          <a:ext cx="91440" cy="56354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63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A02FF0-29CB-41E2-8BA6-8EBACFB79DE4}">
      <dsp:nvSpPr>
        <dsp:cNvPr id="0" name=""/>
        <dsp:cNvSpPr/>
      </dsp:nvSpPr>
      <dsp:spPr>
        <a:xfrm>
          <a:off x="3373028" y="2391278"/>
          <a:ext cx="2336410" cy="563549"/>
        </a:xfrm>
        <a:custGeom>
          <a:avLst/>
          <a:gdLst/>
          <a:ahLst/>
          <a:cxnLst/>
          <a:rect l="0" t="0" r="0" b="0"/>
          <a:pathLst>
            <a:path>
              <a:moveTo>
                <a:pt x="2336410" y="0"/>
              </a:moveTo>
              <a:lnTo>
                <a:pt x="2336410" y="384042"/>
              </a:lnTo>
              <a:lnTo>
                <a:pt x="0" y="384042"/>
              </a:lnTo>
              <a:lnTo>
                <a:pt x="0" y="563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840FB-8B55-47E5-B547-3CFC788A8645}">
      <dsp:nvSpPr>
        <dsp:cNvPr id="0" name=""/>
        <dsp:cNvSpPr/>
      </dsp:nvSpPr>
      <dsp:spPr>
        <a:xfrm>
          <a:off x="972828" y="2391278"/>
          <a:ext cx="4736610" cy="563549"/>
        </a:xfrm>
        <a:custGeom>
          <a:avLst/>
          <a:gdLst/>
          <a:ahLst/>
          <a:cxnLst/>
          <a:rect l="0" t="0" r="0" b="0"/>
          <a:pathLst>
            <a:path>
              <a:moveTo>
                <a:pt x="4736610" y="0"/>
              </a:moveTo>
              <a:lnTo>
                <a:pt x="4736610" y="384042"/>
              </a:lnTo>
              <a:lnTo>
                <a:pt x="0" y="384042"/>
              </a:lnTo>
              <a:lnTo>
                <a:pt x="0" y="563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7AED32-5FC0-4DCB-AB61-C0F1559AF26A}">
      <dsp:nvSpPr>
        <dsp:cNvPr id="0" name=""/>
        <dsp:cNvSpPr/>
      </dsp:nvSpPr>
      <dsp:spPr>
        <a:xfrm>
          <a:off x="2372281" y="1160836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A6387D-8DC8-42EE-8ADA-6078ADBE65E7}">
      <dsp:nvSpPr>
        <dsp:cNvPr id="0" name=""/>
        <dsp:cNvSpPr/>
      </dsp:nvSpPr>
      <dsp:spPr>
        <a:xfrm>
          <a:off x="2587582" y="1365371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Project Manager]</a:t>
          </a:r>
        </a:p>
      </dsp:txBody>
      <dsp:txXfrm>
        <a:off x="2623620" y="1401409"/>
        <a:ext cx="1865628" cy="1158366"/>
      </dsp:txXfrm>
    </dsp:sp>
    <dsp:sp modelId="{3D3AEF24-5FBE-4665-8029-70C6AD2730E9}">
      <dsp:nvSpPr>
        <dsp:cNvPr id="0" name=""/>
        <dsp:cNvSpPr/>
      </dsp:nvSpPr>
      <dsp:spPr>
        <a:xfrm>
          <a:off x="4740587" y="1160836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2C4841-D744-442B-BD9D-5AAC788DB9D3}">
      <dsp:nvSpPr>
        <dsp:cNvPr id="0" name=""/>
        <dsp:cNvSpPr/>
      </dsp:nvSpPr>
      <dsp:spPr>
        <a:xfrm>
          <a:off x="4955887" y="1365371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System Architect]</a:t>
          </a:r>
        </a:p>
      </dsp:txBody>
      <dsp:txXfrm>
        <a:off x="4991925" y="1401409"/>
        <a:ext cx="1865628" cy="1158366"/>
      </dsp:txXfrm>
    </dsp:sp>
    <dsp:sp modelId="{4ABBFF52-FF5B-4BCC-9150-EEA276452C1A}">
      <dsp:nvSpPr>
        <dsp:cNvPr id="0" name=""/>
        <dsp:cNvSpPr/>
      </dsp:nvSpPr>
      <dsp:spPr>
        <a:xfrm>
          <a:off x="3976" y="2954827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33E093-217C-4EFB-B2C5-EC59D33748A8}">
      <dsp:nvSpPr>
        <dsp:cNvPr id="0" name=""/>
        <dsp:cNvSpPr/>
      </dsp:nvSpPr>
      <dsp:spPr>
        <a:xfrm>
          <a:off x="219277" y="3159363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Core Team Member / Discipline Architect]</a:t>
          </a:r>
        </a:p>
      </dsp:txBody>
      <dsp:txXfrm>
        <a:off x="255315" y="3195401"/>
        <a:ext cx="1865628" cy="1158366"/>
      </dsp:txXfrm>
    </dsp:sp>
    <dsp:sp modelId="{A9D0801C-6BBE-40EA-BC9E-93A74EC155F0}">
      <dsp:nvSpPr>
        <dsp:cNvPr id="0" name=""/>
        <dsp:cNvSpPr/>
      </dsp:nvSpPr>
      <dsp:spPr>
        <a:xfrm>
          <a:off x="2404176" y="2954827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C7A774-DD7C-42D2-A1B0-FA419EA8FB6A}">
      <dsp:nvSpPr>
        <dsp:cNvPr id="0" name=""/>
        <dsp:cNvSpPr/>
      </dsp:nvSpPr>
      <dsp:spPr>
        <a:xfrm>
          <a:off x="2619476" y="3159363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Core Team Member / Discipline Architect]</a:t>
          </a:r>
        </a:p>
      </dsp:txBody>
      <dsp:txXfrm>
        <a:off x="2655514" y="3195401"/>
        <a:ext cx="1865628" cy="1158366"/>
      </dsp:txXfrm>
    </dsp:sp>
    <dsp:sp modelId="{9E04FA81-7D37-4DD1-9A83-8A5D35587012}">
      <dsp:nvSpPr>
        <dsp:cNvPr id="0" name=""/>
        <dsp:cNvSpPr/>
      </dsp:nvSpPr>
      <dsp:spPr>
        <a:xfrm>
          <a:off x="4740587" y="2954827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4A153D-D976-468D-B63C-A45582EED115}">
      <dsp:nvSpPr>
        <dsp:cNvPr id="0" name=""/>
        <dsp:cNvSpPr/>
      </dsp:nvSpPr>
      <dsp:spPr>
        <a:xfrm>
          <a:off x="4955887" y="3159363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Core Team Member / Discipline Architect]</a:t>
          </a:r>
        </a:p>
      </dsp:txBody>
      <dsp:txXfrm>
        <a:off x="4991925" y="3195401"/>
        <a:ext cx="1865628" cy="1158366"/>
      </dsp:txXfrm>
    </dsp:sp>
    <dsp:sp modelId="{D340AF50-6815-4B14-B435-8B36273EFF41}">
      <dsp:nvSpPr>
        <dsp:cNvPr id="0" name=""/>
        <dsp:cNvSpPr/>
      </dsp:nvSpPr>
      <dsp:spPr>
        <a:xfrm>
          <a:off x="7108892" y="2954827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B48DF-96C4-4AEA-A975-FBFA53E218CF}">
      <dsp:nvSpPr>
        <dsp:cNvPr id="0" name=""/>
        <dsp:cNvSpPr/>
      </dsp:nvSpPr>
      <dsp:spPr>
        <a:xfrm>
          <a:off x="7324192" y="3159363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Core Team Member / Discipline Architect]</a:t>
          </a:r>
        </a:p>
      </dsp:txBody>
      <dsp:txXfrm>
        <a:off x="7360230" y="3195401"/>
        <a:ext cx="1865628" cy="1158366"/>
      </dsp:txXfrm>
    </dsp:sp>
    <dsp:sp modelId="{BB5BAF35-3AF0-481A-A166-4508F6AC7494}">
      <dsp:nvSpPr>
        <dsp:cNvPr id="0" name=""/>
        <dsp:cNvSpPr/>
      </dsp:nvSpPr>
      <dsp:spPr>
        <a:xfrm>
          <a:off x="9477197" y="2954827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A038B7-C7C8-424D-B935-B61E9CC84669}">
      <dsp:nvSpPr>
        <dsp:cNvPr id="0" name=""/>
        <dsp:cNvSpPr/>
      </dsp:nvSpPr>
      <dsp:spPr>
        <a:xfrm>
          <a:off x="9692498" y="3159363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Core Team Member / Discipline Architect]</a:t>
          </a:r>
        </a:p>
      </dsp:txBody>
      <dsp:txXfrm>
        <a:off x="9728536" y="3195401"/>
        <a:ext cx="1865628" cy="1158366"/>
      </dsp:txXfrm>
    </dsp:sp>
    <dsp:sp modelId="{C0A25FEE-3625-498E-ABD4-69EEFFF9F514}">
      <dsp:nvSpPr>
        <dsp:cNvPr id="0" name=""/>
        <dsp:cNvSpPr/>
      </dsp:nvSpPr>
      <dsp:spPr>
        <a:xfrm>
          <a:off x="7108892" y="1160836"/>
          <a:ext cx="1937704" cy="1230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FF8D5B-9E0E-4A38-BF7A-BE45AD7B712B}">
      <dsp:nvSpPr>
        <dsp:cNvPr id="0" name=""/>
        <dsp:cNvSpPr/>
      </dsp:nvSpPr>
      <dsp:spPr>
        <a:xfrm>
          <a:off x="7324192" y="1365371"/>
          <a:ext cx="1937704" cy="12304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[Account Manager]</a:t>
          </a:r>
        </a:p>
      </dsp:txBody>
      <dsp:txXfrm>
        <a:off x="7360230" y="1401409"/>
        <a:ext cx="1865628" cy="11583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9">
            <a:extLst>
              <a:ext uri="{FF2B5EF4-FFF2-40B4-BE49-F238E27FC236}">
                <a16:creationId xmlns:a16="http://schemas.microsoft.com/office/drawing/2014/main" id="{8465084A-E12C-481A-B355-BE040308F854}"/>
              </a:ext>
            </a:extLst>
          </p:cNvPr>
          <p:cNvSpPr/>
          <p:nvPr/>
        </p:nvSpPr>
        <p:spPr>
          <a:xfrm>
            <a:off x="-1" y="9761197"/>
            <a:ext cx="6797676" cy="1654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0" tIns="51740" rIns="103480" bIns="51740" spcCol="0" rtlCol="0" anchor="ctr"/>
          <a:lstStyle/>
          <a:p>
            <a:pPr algn="ctr"/>
            <a:endParaRPr lang="nl-NL"/>
          </a:p>
        </p:txBody>
      </p:sp>
      <p:sp>
        <p:nvSpPr>
          <p:cNvPr id="16" name="Tijdelijke aanduiding voor voettekst 1">
            <a:extLst>
              <a:ext uri="{FF2B5EF4-FFF2-40B4-BE49-F238E27FC236}">
                <a16:creationId xmlns:a16="http://schemas.microsoft.com/office/drawing/2014/main" id="{F4E4BB99-1663-4D4B-B4C5-A2D58C29F7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22484" y="9543827"/>
            <a:ext cx="3051087" cy="382814"/>
          </a:xfrm>
          <a:prstGeom prst="rect">
            <a:avLst/>
          </a:prstGeom>
        </p:spPr>
        <p:txBody>
          <a:bodyPr vert="horz" lIns="95532" tIns="47767" rIns="95532" bIns="47767" rtlCol="0" anchor="b"/>
          <a:lstStyle>
            <a:lvl1pPr algn="l">
              <a:defRPr sz="1300"/>
            </a:lvl1pPr>
          </a:lstStyle>
          <a:p>
            <a:r>
              <a:rPr lang="nl-NL" sz="1200">
                <a:latin typeface="Arial" panose="020B0604020202020204" pitchFamily="34" charset="0"/>
                <a:cs typeface="Arial" panose="020B0604020202020204" pitchFamily="34" charset="0"/>
              </a:rPr>
              <a:t>www.sioux.eu</a:t>
            </a:r>
          </a:p>
        </p:txBody>
      </p:sp>
      <p:pic>
        <p:nvPicPr>
          <p:cNvPr id="5" name="Afbeelding 6">
            <a:extLst>
              <a:ext uri="{FF2B5EF4-FFF2-40B4-BE49-F238E27FC236}">
                <a16:creationId xmlns:a16="http://schemas.microsoft.com/office/drawing/2014/main" id="{AB2EC0D0-43FA-41BE-B853-1FFE0DA3DF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91" y="271315"/>
            <a:ext cx="1225995" cy="427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332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8056"/>
          </a:xfrm>
          <a:prstGeom prst="rect">
            <a:avLst/>
          </a:prstGeom>
        </p:spPr>
        <p:txBody>
          <a:bodyPr vert="horz" lIns="95532" tIns="47767" rIns="95532" bIns="47767" rtlCol="0"/>
          <a:lstStyle>
            <a:lvl1pPr algn="l" rtl="0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8056"/>
          </a:xfrm>
          <a:prstGeom prst="rect">
            <a:avLst/>
          </a:prstGeom>
        </p:spPr>
        <p:txBody>
          <a:bodyPr vert="horz" lIns="95532" tIns="47767" rIns="95532" bIns="47767" rtlCol="0"/>
          <a:lstStyle>
            <a:lvl1pPr algn="r" rtl="0">
              <a:defRPr sz="1300"/>
            </a:lvl1pPr>
          </a:lstStyle>
          <a:p>
            <a:fld id="{824CB664-1D7D-4928-9E51-F023012F9627}" type="datetimeFigureOut">
              <a:rPr lang="en-US" smtClean="0"/>
              <a:pPr/>
              <a:t>10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32" tIns="47767" rIns="95532" bIns="47767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3"/>
          </a:xfrm>
          <a:prstGeom prst="rect">
            <a:avLst/>
          </a:prstGeom>
        </p:spPr>
        <p:txBody>
          <a:bodyPr vert="horz" lIns="95532" tIns="47767" rIns="95532" bIns="4776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28587"/>
            <a:ext cx="2945659" cy="498055"/>
          </a:xfrm>
          <a:prstGeom prst="rect">
            <a:avLst/>
          </a:prstGeom>
        </p:spPr>
        <p:txBody>
          <a:bodyPr vert="horz" lIns="95532" tIns="47767" rIns="95532" bIns="47767" rtlCol="0" anchor="b"/>
          <a:lstStyle>
            <a:lvl1pPr algn="l" rtl="0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7"/>
            <a:ext cx="2945659" cy="498055"/>
          </a:xfrm>
          <a:prstGeom prst="rect">
            <a:avLst/>
          </a:prstGeom>
        </p:spPr>
        <p:txBody>
          <a:bodyPr vert="horz" lIns="95532" tIns="47767" rIns="95532" bIns="47767" rtlCol="0" anchor="b"/>
          <a:lstStyle>
            <a:lvl1pPr algn="r" rtl="0">
              <a:defRPr sz="1300"/>
            </a:lvl1pPr>
          </a:lstStyle>
          <a:p>
            <a:fld id="{A2865B37-E7C2-4203-AAEB-E7CE60D906C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726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iouxeu.sharepoint.com/sites/CG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6087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Month can be quarter depending on the time-line of the proje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ps to ed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- Double click on a cell to open and edit the embedded Excel sh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- Right click</a:t>
            </a:r>
            <a:r>
              <a:rPr lang="en-US">
                <a:sym typeface="Wingdings" panose="05000000000000000000" pitchFamily="2" charset="2"/>
              </a:rPr>
              <a:t> Worksheet Object  Open to</a:t>
            </a:r>
            <a:r>
              <a:rPr lang="en-US"/>
              <a:t> open the Excel program separat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3- Cells to be displayed: Click object once and adj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651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ioux related work packages focusing on functional distribution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Independent functions can have their own diagrams not attached to a higher hierarchy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Use of the same color for Siou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  <a:p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9042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er </a:t>
            </a:r>
            <a:r>
              <a:rPr lang="en-US" sz="1200" err="1">
                <a:solidFill>
                  <a:schemeClr val="bg2">
                    <a:lumMod val="65000"/>
                  </a:schemeClr>
                </a:solidFill>
              </a:rPr>
              <a:t>FuMo</a:t>
            </a: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, per device, per work package and eventually total cost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referably including test set-ups, tools etc.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referably including costs other than Engineering Decomposition like clear estimates defining packaging, assembly hours, etc.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Just the “total estimation” can be mentioned if more detail is not available for the time being.</a:t>
            </a:r>
          </a:p>
          <a:p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7947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Internal Stakeholders, i.e. 3 in a box (3IAB): project manager, system architect, account manager and other core members like: internal work package owners, discipline architects, team leads, core team members, consultants, STA etc.</a:t>
            </a:r>
          </a:p>
          <a:p>
            <a:pPr>
              <a:lnSpc>
                <a:spcPct val="100000"/>
              </a:lnSpc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referably with names and roles; if not certain yet, then only roles per discipline. Sharing the pictures of the (known) team members is also recommended.</a:t>
            </a:r>
          </a:p>
          <a:p>
            <a:pPr>
              <a:lnSpc>
                <a:spcPct val="100000"/>
              </a:lnSpc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Different colors can be used per discipline.</a:t>
            </a:r>
          </a:p>
          <a:p>
            <a:pPr>
              <a:lnSpc>
                <a:spcPct val="100000"/>
              </a:lnSpc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lanned meetings including the informative names (architecting, technical discussion etc.) and frequencies (one a week etc.) can also be shar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pPr>
              <a:lnSpc>
                <a:spcPct val="100000"/>
              </a:lnSpc>
            </a:pPr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1309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ates  c</a:t>
            </a:r>
            <a:r>
              <a:rPr lang="en-US" sz="1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an be TBD or an interval if not cert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Preferable in align with Sioux QMS otherwise necessary milestones according to the customer deman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ps to ed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- Double click to open and edit the embedded Excel sh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- Right click</a:t>
            </a:r>
            <a:r>
              <a:rPr lang="en-US">
                <a:sym typeface="Wingdings" panose="05000000000000000000" pitchFamily="2" charset="2"/>
              </a:rPr>
              <a:t> Worksheet Object  Open to</a:t>
            </a:r>
            <a:r>
              <a:rPr lang="en-US"/>
              <a:t> open the Excel program separat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3- Double click to adjust the cells to be display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1689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A Microsoft Project or Excel planning screenshot for general timeline indication or the document itself for detailed view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If the Milestones and Key Deliverables Slide explains enough, this slide can be skipp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ps to ed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- Double click to open and edit the embedded Excel sh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- Right click</a:t>
            </a:r>
            <a:r>
              <a:rPr lang="en-US">
                <a:sym typeface="Wingdings" panose="05000000000000000000" pitchFamily="2" charset="2"/>
              </a:rPr>
              <a:t> Worksheet Object  Open to</a:t>
            </a:r>
            <a:r>
              <a:rPr lang="en-US"/>
              <a:t> open the Excel program separat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3- Double click to adjust the cells to be displayed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5972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Month can be quarter depending on the time-line of the project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Departments and Competences can be chosen from the cell by using the pull-down menu</a:t>
            </a:r>
            <a:endParaRPr lang="en-US">
              <a:solidFill>
                <a:schemeClr val="bg1">
                  <a:lumMod val="65000"/>
                </a:schemeClr>
              </a:solidFill>
            </a:endParaRPr>
          </a:p>
          <a:p>
            <a:pPr>
              <a:buClr>
                <a:srgbClr val="F15D03"/>
              </a:buClr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Note that the competences are copied from </a:t>
            </a:r>
            <a:r>
              <a:rPr lang="en-US">
                <a:solidFill>
                  <a:schemeClr val="bg1">
                    <a:lumMod val="6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etence Groups - Home (sharepoint.com)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 in 25/03/2022, it may need an update. 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Can be converted to project dashboard (SHA.PJM.TPL-17) once enough details are present.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Purchaser, regulation consultancy can also be add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ps to ed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- Double click to open and edit the embedded Excel sh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- Right click</a:t>
            </a:r>
            <a:r>
              <a:rPr lang="en-US">
                <a:sym typeface="Wingdings" panose="05000000000000000000" pitchFamily="2" charset="2"/>
              </a:rPr>
              <a:t> Worksheet Object  Open to</a:t>
            </a:r>
            <a:r>
              <a:rPr lang="en-US"/>
              <a:t> open the Excel program separat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3- Double click to adjust the cells to be displayed</a:t>
            </a:r>
          </a:p>
          <a:p>
            <a:r>
              <a:rPr lang="en-US"/>
              <a:t>4- Departments and Competences can be chosen from the cell by using the pull-down men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ote that the competences are copied from </a:t>
            </a:r>
            <a:r>
              <a:rPr lang="en-US">
                <a:hlinkClick r:id="rId3"/>
              </a:rPr>
              <a:t>Competence Groups - Home (sharepoint.com)</a:t>
            </a:r>
            <a:r>
              <a:rPr lang="en-US"/>
              <a:t> in 25/03/2022, it may need an updat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1801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Automotive regulations, medical device regulations (like IVDR, CGMP </a:t>
            </a:r>
            <a:r>
              <a:rPr lang="en-US" sz="1200" err="1">
                <a:solidFill>
                  <a:schemeClr val="bg2">
                    <a:lumMod val="65000"/>
                  </a:schemeClr>
                </a:solidFill>
              </a:rPr>
              <a:t>etc</a:t>
            </a: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), Applicable international or European Standards (</a:t>
            </a:r>
            <a:r>
              <a:rPr lang="en-US" sz="1200" err="1">
                <a:solidFill>
                  <a:schemeClr val="bg2">
                    <a:lumMod val="65000"/>
                  </a:schemeClr>
                </a:solidFill>
              </a:rPr>
              <a:t>ISOxxxx</a:t>
            </a: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, </a:t>
            </a:r>
            <a:r>
              <a:rPr lang="en-US" sz="1200" err="1">
                <a:solidFill>
                  <a:schemeClr val="bg2">
                    <a:lumMod val="65000"/>
                  </a:schemeClr>
                </a:solidFill>
              </a:rPr>
              <a:t>etc</a:t>
            </a: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), internal quality assurance standards (QMS), etc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9179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Risks foreseen up-front and mitigation methods if applicable together with project assumptions (if applicabl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 category list is aligned with the </a:t>
            </a:r>
            <a:r>
              <a:rPr lang="en-GB" sz="1200">
                <a:effectLst/>
                <a:latin typeface="Arial" panose="020B0604020202020204" pitchFamily="34" charset="0"/>
                <a:ea typeface="Arial Unicode MS"/>
                <a:cs typeface="Times New Roman" panose="02020603050405020304" pitchFamily="18" charset="0"/>
              </a:rPr>
              <a:t>Quotation Guide Card (</a:t>
            </a:r>
            <a:r>
              <a:rPr lang="en-GB" sz="1200">
                <a:effectLst/>
                <a:latin typeface="Arial" panose="020B0604020202020204" pitchFamily="34" charset="0"/>
                <a:ea typeface="Arial Unicode MS"/>
              </a:rPr>
              <a:t>SHA.SAL.TPL-23, 12 Mar 2021, v04)</a:t>
            </a:r>
            <a:endParaRPr lang="en-US"/>
          </a:p>
          <a:p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ps to ed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1- Double click on a cell to open and edit the embedded Excel sh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2- Right click</a:t>
            </a:r>
            <a:r>
              <a:rPr lang="en-US">
                <a:sym typeface="Wingdings" panose="05000000000000000000" pitchFamily="2" charset="2"/>
              </a:rPr>
              <a:t> Worksheet Object  Open to</a:t>
            </a:r>
            <a:r>
              <a:rPr lang="en-US"/>
              <a:t> open the Excel program separat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3- Cells to be displayed: Click object once and adju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8947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ntact info including phone number and email addres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073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1587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41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rgbClr val="F15D03"/>
              </a:buClr>
              <a:buFont typeface="Wingdings" panose="05000000000000000000" pitchFamily="2" charset="2"/>
              <a:buNone/>
            </a:pPr>
            <a:r>
              <a:rPr lang="en-US">
                <a:solidFill>
                  <a:schemeClr val="bg2">
                    <a:lumMod val="75000"/>
                  </a:schemeClr>
                </a:solidFill>
              </a:rPr>
              <a:t>Project Name</a:t>
            </a:r>
          </a:p>
          <a:p>
            <a:pPr marL="0" indent="0">
              <a:buClr>
                <a:srgbClr val="F15D03"/>
              </a:buClr>
              <a:buFont typeface="Wingdings" panose="05000000000000000000" pitchFamily="2" charset="2"/>
              <a:buNone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Summary of the project definition </a:t>
            </a:r>
            <a:r>
              <a:rPr lang="en-US" sz="2400" i="1">
                <a:solidFill>
                  <a:schemeClr val="bg2">
                    <a:lumMod val="65000"/>
                  </a:schemeClr>
                </a:solidFill>
              </a:rPr>
              <a:t>(in phrase not a sentence)</a:t>
            </a:r>
          </a:p>
          <a:p>
            <a:pPr>
              <a:buClr>
                <a:srgbClr val="F15D03"/>
              </a:buClr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Project characteristics in bullets, i.e.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Software, system development, etc.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utomotive, medical, etc. </a:t>
            </a:r>
          </a:p>
          <a:p>
            <a:pPr marL="0" indent="0">
              <a:buNone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Context and history in general;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What are the business drivers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What initiates this project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Why customer has chosen Sioux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What makes Sioux unique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Why the customer needs this project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endParaRPr lang="en-US" sz="120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912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b="1" u="sng"/>
              <a:t>Is:</a:t>
            </a:r>
          </a:p>
          <a:p>
            <a:pPr marL="285750" indent="-285750">
              <a:buClr>
                <a:srgbClr val="F15D03"/>
              </a:buClr>
            </a:pPr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Technical project definition</a:t>
            </a:r>
          </a:p>
          <a:p>
            <a:pPr marL="285750" indent="-285750">
              <a:buClr>
                <a:srgbClr val="F15D03"/>
              </a:buClr>
            </a:pPr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Goals to achieve</a:t>
            </a:r>
          </a:p>
          <a:p>
            <a:pPr marL="285750" indent="-285750">
              <a:buClr>
                <a:srgbClr val="F15D03"/>
              </a:buClr>
            </a:pPr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In scope aspects / functions</a:t>
            </a:r>
          </a:p>
          <a:p>
            <a:pPr marL="0" indent="0">
              <a:buNone/>
            </a:pPr>
            <a:r>
              <a:rPr lang="en-US" sz="1400" b="1" u="sng"/>
              <a:t>Is-not:</a:t>
            </a:r>
          </a:p>
          <a:p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Out of scope aspects /functions that can lead misunderstanding</a:t>
            </a:r>
          </a:p>
          <a:p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Already present aspects/ function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60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sz="1100" b="1" u="sng"/>
              <a:t>Goal and customer business case:</a:t>
            </a:r>
          </a:p>
          <a:p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Market needs, market competitions, project context, customer’s business case, customer objectives</a:t>
            </a:r>
          </a:p>
          <a:p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Number of planned </a:t>
            </a:r>
            <a:r>
              <a:rPr lang="en-US" sz="1200" i="1" err="1">
                <a:solidFill>
                  <a:schemeClr val="bg2">
                    <a:lumMod val="65000"/>
                  </a:schemeClr>
                </a:solidFill>
              </a:rPr>
              <a:t>FuMo</a:t>
            </a:r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, alpha, beta versions </a:t>
            </a:r>
            <a:r>
              <a:rPr lang="en-US" sz="1100">
                <a:solidFill>
                  <a:schemeClr val="bg2">
                    <a:lumMod val="65000"/>
                  </a:schemeClr>
                </a:solidFill>
              </a:rPr>
              <a:t>(like 3 </a:t>
            </a:r>
            <a:r>
              <a:rPr lang="en-US" sz="1100" err="1">
                <a:solidFill>
                  <a:schemeClr val="bg2">
                    <a:lumMod val="65000"/>
                  </a:schemeClr>
                </a:solidFill>
              </a:rPr>
              <a:t>FuMo</a:t>
            </a:r>
            <a:r>
              <a:rPr lang="en-US" sz="1100">
                <a:solidFill>
                  <a:schemeClr val="bg2">
                    <a:lumMod val="65000"/>
                  </a:schemeClr>
                </a:solidFill>
              </a:rPr>
              <a:t> in a year, 20-25 systems/year etc.)</a:t>
            </a:r>
          </a:p>
          <a:p>
            <a:r>
              <a:rPr lang="en-US" sz="1200" i="1">
                <a:solidFill>
                  <a:schemeClr val="bg2">
                    <a:lumMod val="65000"/>
                  </a:schemeClr>
                </a:solidFill>
              </a:rPr>
              <a:t>Etc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071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High level overview of work packages with external stakeholders including customer roles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i.e. which party is responsible for what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Use of different colors for different parties is recommended.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Use of orange is recommended for Siou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7515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More detailed view to Sioux’s work packages (S) including out-sourced (O) work packages and the external work packages (like work packages for customer or other parties, partners (P), etc.)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End-users can be included if applicable.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Use of different colors for different parties is recommended. Keep the same color convention through the presentation.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Planned meetings including the informative names (steering, technical discussion etc.) and frequencies (one a week etc.)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2947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022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Summary of content and goal of each Sioux work package present in Engineering Decomposition, i.e.;</a:t>
            </a:r>
          </a:p>
          <a:p>
            <a:pPr lvl="0"/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[S-WP1]: …</a:t>
            </a:r>
          </a:p>
          <a:p>
            <a:r>
              <a:rPr lang="en-US" sz="1200">
                <a:solidFill>
                  <a:schemeClr val="bg2">
                    <a:lumMod val="65000"/>
                  </a:schemeClr>
                </a:solidFill>
              </a:rPr>
              <a:t>[S-WP2]: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chemeClr val="bg2">
                  <a:lumMod val="65000"/>
                </a:schemeClr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865B37-E7C2-4203-AAEB-E7CE60D906C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768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8F2EDC-C57A-4F87-A45B-E6F2D8095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34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8F2EDC-C57A-4F87-A45B-E6F2D8095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4" y="552701"/>
            <a:ext cx="7766200" cy="1117073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0" y="1800000"/>
            <a:ext cx="12192000" cy="469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010" y="6595180"/>
            <a:ext cx="2089799" cy="152349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0" bIns="0" anchor="ctr" anchorCtr="0">
            <a:spAutoFit/>
          </a:bodyPr>
          <a:lstStyle>
            <a:lvl1pPr marL="0" indent="0" rtl="0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 </a:t>
            </a:r>
          </a:p>
        </p:txBody>
      </p:sp>
      <p:pic>
        <p:nvPicPr>
          <p:cNvPr id="10" name="Afbeelding 3">
            <a:extLst>
              <a:ext uri="{FF2B5EF4-FFF2-40B4-BE49-F238E27FC236}">
                <a16:creationId xmlns:a16="http://schemas.microsoft.com/office/drawing/2014/main" id="{45AA004F-18A9-44F1-B76A-BCF56F8DF73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5000" y="568405"/>
            <a:ext cx="1908000" cy="66233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0881378" y="6595180"/>
            <a:ext cx="828000" cy="152349"/>
          </a:xfrm>
          <a:prstGeom prst="rect">
            <a:avLst/>
          </a:prstGeom>
          <a:solidFill>
            <a:schemeClr val="accent1"/>
          </a:solidFill>
        </p:spPr>
        <p:txBody>
          <a:bodyPr lIns="0" tIns="0" rIns="36000" bIns="0"/>
          <a:lstStyle>
            <a:lvl1pPr algn="r" rtl="0">
              <a:defRPr sz="1100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36E156C-7639-4DB6-87AC-B6FE48C76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806734" y="7188487"/>
            <a:ext cx="1834404" cy="169277"/>
          </a:xfrm>
          <a:prstGeom prst="rect">
            <a:avLst/>
          </a:prstGeom>
          <a:noFill/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2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CBD1C53-902A-4BA5-8C2B-AC8D9063C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8263" y="7169219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727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5B0536-88AE-405B-9FCB-7A74AC7EF8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329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5B0536-88AE-405B-9FCB-7A74AC7EF8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552700"/>
            <a:ext cx="11101388" cy="4825415"/>
          </a:xfrm>
          <a:prstGeom prst="rect">
            <a:avLst/>
          </a:prstGeom>
        </p:spPr>
        <p:txBody>
          <a:bodyPr vert="horz" anchor="ctr"/>
          <a:lstStyle>
            <a:lvl1pPr algn="l" rtl="0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430772" y="6385039"/>
            <a:ext cx="1182238" cy="200055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rtlCol="0">
            <a:spAutoFit/>
          </a:bodyPr>
          <a:lstStyle/>
          <a:p>
            <a:pPr rtl="0"/>
            <a:r>
              <a:rPr lang="en-US" sz="1300" b="1" noProof="0">
                <a:solidFill>
                  <a:schemeClr val="bg1"/>
                </a:solidFill>
              </a:rPr>
              <a:t>www.sioux.eu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8842D1D-4A9B-4D37-A97F-9CF3858C57E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F93D9CA-5735-4F52-AE56-13C9B285C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99294" y="7022196"/>
            <a:ext cx="1834404" cy="169277"/>
          </a:xfrm>
          <a:prstGeom prst="rect">
            <a:avLst/>
          </a:prstGeom>
          <a:noFill/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2">
                    <a:lumMod val="90000"/>
                  </a:schemeClr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19DEFF8-97F9-4950-903B-AB7F2558F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809369" y="7011473"/>
            <a:ext cx="281594" cy="180000"/>
          </a:xfrm>
          <a:solidFill>
            <a:schemeClr val="accent1"/>
          </a:solidFill>
        </p:spPr>
        <p:txBody>
          <a:bodyPr/>
          <a:lstStyle>
            <a:lvl1pPr rtl="0">
              <a:defRPr/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273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89B1D-E7D8-4A67-BC20-A5FEB52559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41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89B1D-E7D8-4A67-BC20-A5FEB52559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50863" y="1584000"/>
            <a:ext cx="1109027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86265" y="6589047"/>
            <a:ext cx="3780449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Copyright Sioux 2021 | All Rights Reserved | Confidential</a:t>
            </a:r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758889F-1D3C-4F27-926C-BC89D9804D7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585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A4859E-7FD1-4BFF-94E5-001379AC0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0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A4859E-7FD1-4BFF-94E5-001379AC0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50863" y="1584000"/>
            <a:ext cx="1109027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758889F-1D3C-4F27-926C-BC89D9804D7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775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A94630-09D9-4664-B832-315B6AAE4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3501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A94630-09D9-4664-B832-315B6AAE4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770572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50863" y="1584000"/>
            <a:ext cx="770572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idx="13"/>
          </p:nvPr>
        </p:nvSpPr>
        <p:spPr>
          <a:xfrm>
            <a:off x="8616950" y="1"/>
            <a:ext cx="3575050" cy="649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B16008C-9F0D-47FD-9B78-658753ADCDA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959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01" userDrawn="1">
          <p15:clr>
            <a:srgbClr val="FBAE40"/>
          </p15:clr>
        </p15:guide>
        <p15:guide id="2" pos="542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56A60A-C29F-4052-8BDE-10F38FFAB6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56A60A-C29F-4052-8BDE-10F38FFAB6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50864" y="1584000"/>
            <a:ext cx="5365750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275389" y="1584000"/>
            <a:ext cx="5365750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600"/>
            </a:lvl1pPr>
            <a:lvl2pPr marL="6858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2pPr>
            <a:lvl3pPr marL="11430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3pPr>
            <a:lvl4pPr marL="16002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4pPr>
            <a:lvl5pPr marL="2057400" indent="-228600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2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6CC4854-3259-4525-8BE1-B07D96F22C9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9888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249E9-8C44-4A05-AAF2-A1D8D0A39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549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249E9-8C44-4A05-AAF2-A1D8D0A39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550864" y="1584000"/>
            <a:ext cx="5365750" cy="45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4"/>
          </p:nvPr>
        </p:nvSpPr>
        <p:spPr>
          <a:xfrm>
            <a:off x="6275388" y="1584000"/>
            <a:ext cx="5365750" cy="45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2A4902D0-5C5D-4168-827F-B9822A8A877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826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A5DC47-8801-4386-9DDD-76358E62A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1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A5DC47-8801-4386-9DDD-76358E62A5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0" y="-1"/>
            <a:ext cx="12192000" cy="649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6275388" y="5940645"/>
            <a:ext cx="5916612" cy="360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lIns="0" tIns="0" rIns="324000" bIns="0">
            <a:normAutofit/>
          </a:bodyPr>
          <a:lstStyle>
            <a:lvl1pPr marL="0" indent="0" algn="r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11430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16002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20574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78FD86A-C7D2-43FA-BB87-F761A16AD45C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02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_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804FF6-3CA5-437B-B883-2FFE9EE061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521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804FF6-3CA5-437B-B883-2FFE9EE06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95389" y="7011473"/>
            <a:ext cx="281594" cy="180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0" y="-2"/>
            <a:ext cx="12192000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rtl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6275388" y="5940645"/>
            <a:ext cx="5916612" cy="3600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lIns="0" tIns="0" rIns="324000" bIns="0">
            <a:normAutofit/>
          </a:bodyPr>
          <a:lstStyle>
            <a:lvl1pPr marL="0" indent="0" algn="r" rtl="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2pPr>
            <a:lvl3pPr marL="11430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16002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4pPr>
            <a:lvl5pPr marL="2057400" indent="-2286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849994" y="7053568"/>
            <a:ext cx="1834404" cy="169277"/>
          </a:xfrm>
          <a:prstGeom prst="rect">
            <a:avLst/>
          </a:prstGeom>
          <a:noFill/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78FD86A-C7D2-43FA-BB87-F761A16AD45C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1920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57E1B0-288E-43DD-A8A3-15DB1ED8E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79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57E1B0-288E-43DD-A8A3-15DB1ED8E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552701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rtl="0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783606" y="6589047"/>
            <a:ext cx="1783108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36000" tIns="0" rIns="36000" bIns="0" anchor="ctr">
            <a:spAutoFit/>
          </a:bodyPr>
          <a:lstStyle>
            <a:lvl1pPr algn="r" rtl="0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2FFAD36-0EFB-4D53-9EF8-3D7BAEE3E0B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  <a:noFill/>
        </p:spPr>
        <p:txBody>
          <a:bodyPr lIns="0" tIns="0" rIns="36000" bIns="0"/>
          <a:lstStyle>
            <a:lvl1pPr algn="r" rtl="0">
              <a:defRPr sz="11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207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D1FD4C-D96C-4610-89C9-401FA6622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53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D1FD4C-D96C-4610-89C9-401FA6622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552700"/>
            <a:ext cx="11101388" cy="4825415"/>
          </a:xfrm>
          <a:prstGeom prst="rect">
            <a:avLst/>
          </a:prstGeom>
        </p:spPr>
        <p:txBody>
          <a:bodyPr vert="horz" anchor="ctr"/>
          <a:lstStyle>
            <a:lvl1pPr algn="l" rtl="0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56715D4-E606-4271-AC37-89BA0C957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solidFill>
            <a:schemeClr val="accent1"/>
          </a:solidFill>
        </p:spPr>
        <p:txBody>
          <a:bodyPr/>
          <a:lstStyle>
            <a:lvl1pPr rtl="0">
              <a:defRPr/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488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11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9DDA76F-D7D8-45ED-B052-B4C8CAAFB8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8584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9DDA76F-D7D8-45ED-B052-B4C8CAAFB8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498000"/>
            <a:ext cx="12192000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8000"/>
            <a:ext cx="12193057" cy="35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737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70" r:id="rId7"/>
    <p:sldLayoutId id="2147483669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pos="3727" userDrawn="1">
          <p15:clr>
            <a:srgbClr val="F26B43"/>
          </p15:clr>
        </p15:guide>
        <p15:guide id="7" pos="395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61D247-AE52-4292-B313-0C971D336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4822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61D247-AE52-4292-B313-0C971D336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5D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36464"/>
            <a:ext cx="12192000" cy="1621536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532C53E-C566-4D44-B8AB-E04CD5835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8263" y="6583686"/>
            <a:ext cx="281594" cy="180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algn="ctr" rtl="0">
              <a:defRPr sz="1100">
                <a:solidFill>
                  <a:schemeClr val="bg1"/>
                </a:solidFill>
              </a:defRPr>
            </a:lvl1pPr>
          </a:lstStyle>
          <a:p>
            <a:fld id="{8E5DB763-12CC-464D-90CD-5DE35E2330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341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1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3.emf"/><Relationship Id="rId4" Type="http://schemas.openxmlformats.org/officeDocument/2006/relationships/package" Target="../embeddings/Microsoft_Excel_Worksheet.xlsx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" Type="http://schemas.openxmlformats.org/officeDocument/2006/relationships/notesSlide" Target="../notesSlides/notesSlide11.xml"/><Relationship Id="rId16" Type="http://schemas.openxmlformats.org/officeDocument/2006/relationships/diagramColors" Target="../diagrams/colors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image" Target="../media/image14.png"/><Relationship Id="rId7" Type="http://schemas.openxmlformats.org/officeDocument/2006/relationships/diagramQuickStyle" Target="../diagrams/quickStyle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image" Target="../media/image15.svg"/><Relationship Id="rId9" Type="http://schemas.microsoft.com/office/2007/relationships/diagramDrawing" Target="../diagrams/drawing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package" Target="../embeddings/Microsoft_Excel_Worksheet1.xlsx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2.xml"/><Relationship Id="rId7" Type="http://schemas.openxmlformats.org/officeDocument/2006/relationships/package" Target="../embeddings/Microsoft_Excel_Worksheet2.xlsx"/><Relationship Id="rId2" Type="http://schemas.openxmlformats.org/officeDocument/2006/relationships/tags" Target="../tags/tag2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2.vml"/><Relationship Id="rId6" Type="http://schemas.openxmlformats.org/officeDocument/2006/relationships/hyperlink" Target="https://siouxeu.sharepoint.com/sites/CG" TargetMode="External"/><Relationship Id="rId5" Type="http://schemas.openxmlformats.org/officeDocument/2006/relationships/image" Target="../media/image19.emf"/><Relationship Id="rId4" Type="http://schemas.openxmlformats.org/officeDocument/2006/relationships/package" Target="../embeddings/Microsoft_Excel_Worksheet3.xls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1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4.vml"/><Relationship Id="rId6" Type="http://schemas.openxmlformats.org/officeDocument/2006/relationships/package" Target="../embeddings/Microsoft_Excel_Worksheet5.xlsx"/><Relationship Id="rId5" Type="http://schemas.openxmlformats.org/officeDocument/2006/relationships/image" Target="../media/image20.emf"/><Relationship Id="rId4" Type="http://schemas.openxmlformats.org/officeDocument/2006/relationships/package" Target="../embeddings/Microsoft_Excel_Worksheet4.xlsx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1.emf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thermofisher.com/order/catalog/product/10144550?SID=srch-srp-10144550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5.xml"/><Relationship Id="rId9" Type="http://schemas.openxmlformats.org/officeDocument/2006/relationships/hyperlink" Target="https://www.bing.com/videos/search?q=aluminium+foil+rolling+process&amp;docid=607992478554658054&amp;mid=4DA0F80F0FDEE2698A974DA0F80F0FDEE2698A97&amp;view=detail&amp;FORM=VIR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8E058A-A14F-467E-A256-EAEAF9752E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17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8E058A-A14F-467E-A256-EAEAF9752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8D0E049-0207-43AC-9E6E-31B9188B5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95389" y="7011473"/>
            <a:ext cx="281594" cy="180000"/>
          </a:xfrm>
          <a:prstGeom prst="rect">
            <a:avLst/>
          </a:prstGeom>
        </p:spPr>
        <p:txBody>
          <a:bodyPr/>
          <a:lstStyle/>
          <a:p>
            <a:fld id="{8E5DB763-12CC-464D-90CD-5DE35E233077}" type="slidenum">
              <a:rPr lang="en-US" noProof="0" smtClean="0"/>
              <a:pPr/>
              <a:t>1</a:t>
            </a:fld>
            <a:endParaRPr lang="en-US" noProof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9945EBF2-D568-4E17-A764-4FA925C12305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E07D3D7-133A-43D5-AB67-E3C4F04194F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CD4CFD5-3DC2-486B-B51B-EA6F4FCED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49994" y="7053568"/>
            <a:ext cx="1834404" cy="169277"/>
          </a:xfrm>
          <a:prstGeom prst="rect">
            <a:avLst/>
          </a:prstGeom>
          <a:noFill/>
        </p:spPr>
        <p:txBody>
          <a:bodyPr/>
          <a:lstStyle/>
          <a:p>
            <a:r>
              <a:rPr lang="en-US" noProof="0">
                <a:solidFill>
                  <a:schemeClr val="bg2">
                    <a:lumMod val="6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 noProof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29525EAC-A0A2-4275-9A20-EFA509862A4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827932" y="7039124"/>
            <a:ext cx="828000" cy="1523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"/>
            <a:ext cx="12206919" cy="686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3827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2D4727-6E9C-439A-B30B-80F3EBB24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A17E5-792B-48B1-95AE-C76ACCE84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EE3D5EA-377D-4B4C-BA2F-498A7AD093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A18FB24-BF9C-47BD-ABFB-F05A20854FEA}"/>
              </a:ext>
            </a:extLst>
          </p:cNvPr>
          <p:cNvGraphicFramePr>
            <a:graphicFrameLocks noGrp="1" noChangeAspect="1"/>
          </p:cNvGraphicFramePr>
          <p:nvPr>
            <p:ph idx="10"/>
            <p:extLst>
              <p:ext uri="{D42A27DB-BD31-4B8C-83A1-F6EECF244321}">
                <p14:modId xmlns:p14="http://schemas.microsoft.com/office/powerpoint/2010/main" val="3149398287"/>
              </p:ext>
            </p:extLst>
          </p:nvPr>
        </p:nvGraphicFramePr>
        <p:xfrm>
          <a:off x="465138" y="1296988"/>
          <a:ext cx="11101387" cy="3021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Worksheet" r:id="rId4" imgW="11525188" imgH="3136944" progId="Excel.Sheet.12">
                  <p:embed/>
                </p:oleObj>
              </mc:Choice>
              <mc:Fallback>
                <p:oleObj name="Worksheet" r:id="rId4" imgW="11525188" imgH="3136944" progId="Excel.Sheet.12">
                  <p:embed/>
                  <p:pic>
                    <p:nvPicPr>
                      <p:cNvPr id="8" name="Content Placeholder 7">
                        <a:extLst>
                          <a:ext uri="{FF2B5EF4-FFF2-40B4-BE49-F238E27FC236}">
                            <a16:creationId xmlns:a16="http://schemas.microsoft.com/office/drawing/2014/main" id="{3A18FB24-BF9C-47BD-ABFB-F05A20854F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5138" y="1296988"/>
                        <a:ext cx="11101387" cy="30210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855FC660-2CDE-4806-B847-8DD919CF8D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2" y="198464"/>
            <a:ext cx="11090275" cy="1116000"/>
          </a:xfrm>
        </p:spPr>
        <p:txBody>
          <a:bodyPr vert="horz"/>
          <a:lstStyle/>
          <a:p>
            <a:r>
              <a:rPr lang="en-US"/>
              <a:t>Estimation on Engineering Decomposition</a:t>
            </a:r>
          </a:p>
        </p:txBody>
      </p:sp>
    </p:spTree>
    <p:extLst>
      <p:ext uri="{BB962C8B-B14F-4D97-AF65-F5344CB8AC3E}">
        <p14:creationId xmlns:p14="http://schemas.microsoft.com/office/powerpoint/2010/main" val="405323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425CB-F51B-486A-90FB-60C78F936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52701"/>
            <a:ext cx="11090275" cy="1116000"/>
          </a:xfrm>
        </p:spPr>
        <p:txBody>
          <a:bodyPr anchor="t">
            <a:normAutofit/>
          </a:bodyPr>
          <a:lstStyle/>
          <a:p>
            <a:r>
              <a:rPr lang="en-US" b="1" i="0">
                <a:effectLst/>
              </a:rPr>
              <a:t>Functional Decomposition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AF33637-5330-4DB6-90B3-FF8585C4CA4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50863" y="1263949"/>
            <a:ext cx="5071070" cy="4820052"/>
          </a:xfrm>
        </p:spPr>
        <p:txBody>
          <a:bodyPr>
            <a:normAutofit/>
          </a:bodyPr>
          <a:lstStyle/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Sioux related work packages focusing on functional distribution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Independent functions can have their own diagrams not attached to a higher hierarchy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Use of the same color for Sioux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3BAFA-41AA-41C9-91FA-07FFAC493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E5DB763-12CC-464D-90CD-5DE35E233077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7667C-86C0-45D7-8410-475A9D8B6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Sioux 2021 | Confidential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454CE88-0889-421C-9F1C-FC740611CB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3565662"/>
              </p:ext>
            </p:extLst>
          </p:nvPr>
        </p:nvGraphicFramePr>
        <p:xfrm>
          <a:off x="5919267" y="475593"/>
          <a:ext cx="4432408" cy="29534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8571B82C-C6CD-43B9-BEB6-1B216D24D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136438"/>
              </p:ext>
            </p:extLst>
          </p:nvPr>
        </p:nvGraphicFramePr>
        <p:xfrm>
          <a:off x="4267201" y="3812526"/>
          <a:ext cx="3559773" cy="1924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B8D71D4A-EAAB-4031-8C26-30248DFC1D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0167130"/>
              </p:ext>
            </p:extLst>
          </p:nvPr>
        </p:nvGraphicFramePr>
        <p:xfrm>
          <a:off x="7924800" y="3673975"/>
          <a:ext cx="3865689" cy="2201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E27B60B-CC2B-4BF1-B036-255B4C35E7F1}"/>
              </a:ext>
            </a:extLst>
          </p:cNvPr>
          <p:cNvSpPr txBox="1"/>
          <p:nvPr/>
        </p:nvSpPr>
        <p:spPr>
          <a:xfrm>
            <a:off x="5919267" y="587528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</p:txBody>
      </p:sp>
    </p:spTree>
    <p:extLst>
      <p:ext uri="{BB962C8B-B14F-4D97-AF65-F5344CB8AC3E}">
        <p14:creationId xmlns:p14="http://schemas.microsoft.com/office/powerpoint/2010/main" val="33395409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CBC4F8-024A-4543-9B29-0C4A3A3ECF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78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CBC4F8-024A-4543-9B29-0C4A3A3EC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96E7DF2-E8A0-46FF-9D81-508AF1D3D9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Estimate Cost of Good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974FF4-0312-4BF1-93A3-A853A51158E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Per </a:t>
            </a:r>
            <a:r>
              <a:rPr lang="en-US" sz="2400" err="1">
                <a:solidFill>
                  <a:schemeClr val="bg2">
                    <a:lumMod val="65000"/>
                  </a:schemeClr>
                </a:solidFill>
              </a:rPr>
              <a:t>FuMo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, per device, per work package and eventually total cost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Preferably including test set-ups, tools etc.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Preferably including costs other than Engineering Decomposition like clear estimates defining packaging, assembly hours, etc.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Just the “total estimation” can be mentioned if more detail is not available for the time being.</a:t>
            </a:r>
          </a:p>
          <a:p>
            <a:endParaRPr lang="en-US" sz="240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42FACE-35B9-4EA9-81B7-76900354E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5052D7-F4CC-4484-80A5-0D6C78944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92E1F3-F2FF-41F2-B363-6BC41C9D6A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97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425CB-F51B-486A-90FB-60C78F936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52701"/>
            <a:ext cx="11090275" cy="1116000"/>
          </a:xfrm>
        </p:spPr>
        <p:txBody>
          <a:bodyPr anchor="t">
            <a:normAutofit/>
          </a:bodyPr>
          <a:lstStyle/>
          <a:p>
            <a:r>
              <a:rPr lang="en-US" b="1" i="0">
                <a:effectLst/>
              </a:rPr>
              <a:t>Project Decomposition Overview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AF33637-5330-4DB6-90B3-FF8585C4CA4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95932" y="4392402"/>
            <a:ext cx="11603925" cy="175373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600">
                <a:solidFill>
                  <a:schemeClr val="bg2">
                    <a:lumMod val="65000"/>
                  </a:schemeClr>
                </a:solidFill>
              </a:rPr>
              <a:t>Internal Stakeholders, i.e. 3 in a box (3IAB): project manager, system architect, account manager and other core members like: internal work package owners, discipline architects, team leads, core team members, consultants, STA etc.</a:t>
            </a:r>
          </a:p>
          <a:p>
            <a:pPr>
              <a:lnSpc>
                <a:spcPct val="100000"/>
              </a:lnSpc>
            </a:pPr>
            <a:r>
              <a:rPr lang="en-US" sz="1600">
                <a:solidFill>
                  <a:schemeClr val="bg2">
                    <a:lumMod val="65000"/>
                  </a:schemeClr>
                </a:solidFill>
              </a:rPr>
              <a:t>Preferably with names and roles; if not certain yet, then only roles per discipline. Sharing the pictures of the (known) team members is also recommended.</a:t>
            </a:r>
          </a:p>
          <a:p>
            <a:pPr>
              <a:lnSpc>
                <a:spcPct val="100000"/>
              </a:lnSpc>
            </a:pPr>
            <a:r>
              <a:rPr lang="en-US" sz="1600">
                <a:solidFill>
                  <a:schemeClr val="bg2">
                    <a:lumMod val="65000"/>
                  </a:schemeClr>
                </a:solidFill>
              </a:rPr>
              <a:t>Different colors can be used per discipline.</a:t>
            </a:r>
          </a:p>
          <a:p>
            <a:pPr>
              <a:lnSpc>
                <a:spcPct val="100000"/>
              </a:lnSpc>
            </a:pPr>
            <a:r>
              <a:rPr lang="en-US" sz="1600">
                <a:solidFill>
                  <a:schemeClr val="bg2">
                    <a:lumMod val="65000"/>
                  </a:schemeClr>
                </a:solidFill>
              </a:rPr>
              <a:t>Planned meetings including the informative names (architecting, technical discussion etc.) and frequencies (one a week etc.) can also be shared.</a:t>
            </a:r>
          </a:p>
          <a:p>
            <a:pPr>
              <a:lnSpc>
                <a:spcPct val="100000"/>
              </a:lnSpc>
            </a:pPr>
            <a:endParaRPr lang="en-US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3BAFA-41AA-41C9-91FA-07FFAC493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E5DB763-12CC-464D-90CD-5DE35E233077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7667C-86C0-45D7-8410-475A9D8B6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Sioux 2021 | Confidential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B1ECEDB-27B9-4549-82F1-375C79EB8D93}"/>
              </a:ext>
            </a:extLst>
          </p:cNvPr>
          <p:cNvGrpSpPr/>
          <p:nvPr/>
        </p:nvGrpSpPr>
        <p:grpSpPr>
          <a:xfrm>
            <a:off x="10758572" y="99676"/>
            <a:ext cx="1100488" cy="1043551"/>
            <a:chOff x="10095757" y="788263"/>
            <a:chExt cx="1100488" cy="104355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AC67C15-7C72-495A-AFC8-844F67F571B7}"/>
                </a:ext>
              </a:extLst>
            </p:cNvPr>
            <p:cNvSpPr/>
            <p:nvPr/>
          </p:nvSpPr>
          <p:spPr>
            <a:xfrm>
              <a:off x="10095757" y="788263"/>
              <a:ext cx="1100488" cy="104355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Graphic 16" descr="Business Growth outline">
              <a:extLst>
                <a:ext uri="{FF2B5EF4-FFF2-40B4-BE49-F238E27FC236}">
                  <a16:creationId xmlns:a16="http://schemas.microsoft.com/office/drawing/2014/main" id="{A09D980F-8304-4EDF-8EB2-F420ABDC0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88801" y="852838"/>
              <a:ext cx="914400" cy="914400"/>
            </a:xfrm>
            <a:prstGeom prst="rect">
              <a:avLst/>
            </a:prstGeom>
          </p:spPr>
        </p:pic>
      </p:grp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14B83DC-9E00-47BA-B3D2-C785AFE416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69614"/>
              </p:ext>
            </p:extLst>
          </p:nvPr>
        </p:nvGraphicFramePr>
        <p:xfrm>
          <a:off x="278910" y="0"/>
          <a:ext cx="11634179" cy="5550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FADC5F7-6C20-4607-BDAC-B0C336A180D5}"/>
              </a:ext>
            </a:extLst>
          </p:cNvPr>
          <p:cNvSpPr txBox="1"/>
          <p:nvPr/>
        </p:nvSpPr>
        <p:spPr>
          <a:xfrm>
            <a:off x="9732310" y="1469736"/>
            <a:ext cx="234661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</p:txBody>
      </p:sp>
    </p:spTree>
    <p:extLst>
      <p:ext uri="{BB962C8B-B14F-4D97-AF65-F5344CB8AC3E}">
        <p14:creationId xmlns:p14="http://schemas.microsoft.com/office/powerpoint/2010/main" val="3440612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2D4727-6E9C-439A-B30B-80F3EBB24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A17E5-792B-48B1-95AE-C76ACCE84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EE3D5EA-377D-4B4C-BA2F-498A7AD093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A18FB24-BF9C-47BD-ABFB-F05A20854FEA}"/>
              </a:ext>
            </a:extLst>
          </p:cNvPr>
          <p:cNvGraphicFramePr>
            <a:graphicFrameLocks noGrp="1" noChangeAspect="1"/>
          </p:cNvGraphicFramePr>
          <p:nvPr>
            <p:ph idx="10"/>
            <p:extLst>
              <p:ext uri="{D42A27DB-BD31-4B8C-83A1-F6EECF244321}">
                <p14:modId xmlns:p14="http://schemas.microsoft.com/office/powerpoint/2010/main" val="4048492863"/>
              </p:ext>
            </p:extLst>
          </p:nvPr>
        </p:nvGraphicFramePr>
        <p:xfrm>
          <a:off x="323850" y="1719263"/>
          <a:ext cx="11717338" cy="2798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Worksheet" r:id="rId4" imgW="11687308" imgH="2790815" progId="Excel.Sheet.12">
                  <p:embed/>
                </p:oleObj>
              </mc:Choice>
              <mc:Fallback>
                <p:oleObj name="Worksheet" r:id="rId4" imgW="11687308" imgH="2790815" progId="Excel.Sheet.12">
                  <p:embed/>
                  <p:pic>
                    <p:nvPicPr>
                      <p:cNvPr id="8" name="Content Placeholder 7">
                        <a:extLst>
                          <a:ext uri="{FF2B5EF4-FFF2-40B4-BE49-F238E27FC236}">
                            <a16:creationId xmlns:a16="http://schemas.microsoft.com/office/drawing/2014/main" id="{3A18FB24-BF9C-47BD-ABFB-F05A20854F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3850" y="1719263"/>
                        <a:ext cx="11717338" cy="2798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6">
            <a:extLst>
              <a:ext uri="{FF2B5EF4-FFF2-40B4-BE49-F238E27FC236}">
                <a16:creationId xmlns:a16="http://schemas.microsoft.com/office/drawing/2014/main" id="{D044DE03-E76D-4733-8616-98406DB911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6439" y="146400"/>
            <a:ext cx="11090275" cy="1116000"/>
          </a:xfrm>
        </p:spPr>
        <p:txBody>
          <a:bodyPr vert="horz"/>
          <a:lstStyle/>
          <a:p>
            <a:r>
              <a:rPr lang="en-US"/>
              <a:t>Milestones and Key Deliverables </a:t>
            </a:r>
            <a:endParaRPr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DB6778-9F07-404A-90AB-D69DE096B8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7803" y="4870990"/>
            <a:ext cx="11416394" cy="157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5484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B2F462-39DB-4DA6-B46B-5A6225697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12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B2F462-39DB-4DA6-B46B-5A6225697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A7090-7F30-489C-AB0A-C970E7DFC45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Visual Time Line Plan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A3396-D2D0-4E42-8CA8-7C1D2C820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213108-C8C1-4902-BD0B-26EBE1002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2845D33-FC42-47C8-AB13-943412F9364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EE33CCB-1542-4E30-A851-566EE820ED0F}"/>
              </a:ext>
            </a:extLst>
          </p:cNvPr>
          <p:cNvSpPr txBox="1">
            <a:spLocks/>
          </p:cNvSpPr>
          <p:nvPr/>
        </p:nvSpPr>
        <p:spPr>
          <a:xfrm>
            <a:off x="406483" y="1398472"/>
            <a:ext cx="1109027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 Microsoft Project or Excel planning screenshot for general timeline indication or the document itself for detailed view</a:t>
            </a:r>
          </a:p>
          <a:p>
            <a:pPr>
              <a:lnSpc>
                <a:spcPct val="100000"/>
              </a:lnSpc>
            </a:pP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If the Milestones and Key Deliverables Slide explains enough, this slide can be skipped.</a:t>
            </a: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EA20DEEE-C188-408C-A5C4-9780F58327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9397069"/>
              </p:ext>
            </p:extLst>
          </p:nvPr>
        </p:nvGraphicFramePr>
        <p:xfrm>
          <a:off x="141232" y="3359888"/>
          <a:ext cx="11858625" cy="267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Worksheet" r:id="rId7" imgW="11858492" imgH="2676752" progId="Excel.Sheet.12">
                  <p:embed/>
                </p:oleObj>
              </mc:Choice>
              <mc:Fallback>
                <p:oleObj name="Worksheet" r:id="rId7" imgW="11858492" imgH="2676752" progId="Excel.Sheet.12">
                  <p:embed/>
                  <p:pic>
                    <p:nvPicPr>
                      <p:cNvPr id="11" name="Object 10">
                        <a:extLst>
                          <a:ext uri="{FF2B5EF4-FFF2-40B4-BE49-F238E27FC236}">
                            <a16:creationId xmlns:a16="http://schemas.microsoft.com/office/drawing/2014/main" id="{EA20DEEE-C188-408C-A5C4-9780F5832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1232" y="3359888"/>
                        <a:ext cx="11858625" cy="2676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40832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2D4727-6E9C-439A-B30B-80F3EBB24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A17E5-792B-48B1-95AE-C76ACCE84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EE3D5EA-377D-4B4C-BA2F-498A7AD093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A18FB24-BF9C-47BD-ABFB-F05A20854FEA}"/>
              </a:ext>
            </a:extLst>
          </p:cNvPr>
          <p:cNvGraphicFramePr>
            <a:graphicFrameLocks noGrp="1" noChangeAspect="1"/>
          </p:cNvGraphicFramePr>
          <p:nvPr>
            <p:ph idx="10"/>
            <p:extLst>
              <p:ext uri="{D42A27DB-BD31-4B8C-83A1-F6EECF244321}">
                <p14:modId xmlns:p14="http://schemas.microsoft.com/office/powerpoint/2010/main" val="1530388557"/>
              </p:ext>
            </p:extLst>
          </p:nvPr>
        </p:nvGraphicFramePr>
        <p:xfrm>
          <a:off x="1173163" y="1338263"/>
          <a:ext cx="9482137" cy="3179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Worksheet" r:id="rId4" imgW="9601200" imgH="3219351" progId="Excel.Sheet.12">
                  <p:embed/>
                </p:oleObj>
              </mc:Choice>
              <mc:Fallback>
                <p:oleObj name="Worksheet" r:id="rId4" imgW="9601200" imgH="3219351" progId="Excel.Sheet.12">
                  <p:embed/>
                  <p:pic>
                    <p:nvPicPr>
                      <p:cNvPr id="8" name="Content Placeholder 7">
                        <a:extLst>
                          <a:ext uri="{FF2B5EF4-FFF2-40B4-BE49-F238E27FC236}">
                            <a16:creationId xmlns:a16="http://schemas.microsoft.com/office/drawing/2014/main" id="{3A18FB24-BF9C-47BD-ABFB-F05A20854F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3163" y="1338263"/>
                        <a:ext cx="9482137" cy="3179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97AA8E2-F372-4354-B2F5-63812D5DF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2" y="205587"/>
            <a:ext cx="11090275" cy="1116000"/>
          </a:xfrm>
        </p:spPr>
        <p:txBody>
          <a:bodyPr vert="horz"/>
          <a:lstStyle/>
          <a:p>
            <a:r>
              <a:rPr lang="en-US"/>
              <a:t>Estimation on Staff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080841-18C8-4E40-A542-DA28938B5D6B}"/>
              </a:ext>
            </a:extLst>
          </p:cNvPr>
          <p:cNvSpPr txBox="1"/>
          <p:nvPr/>
        </p:nvSpPr>
        <p:spPr>
          <a:xfrm>
            <a:off x="313362" y="4786309"/>
            <a:ext cx="1168649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Departments and Competences can be chosen from the cell by using the pull-down menu</a:t>
            </a:r>
            <a:endParaRPr lang="en-US">
              <a:solidFill>
                <a:schemeClr val="bg1">
                  <a:lumMod val="65000"/>
                </a:schemeClr>
              </a:solidFill>
            </a:endParaRPr>
          </a:p>
          <a:p>
            <a:pPr>
              <a:buClr>
                <a:srgbClr val="F15D03"/>
              </a:buClr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Note that the competences are copied from </a:t>
            </a:r>
            <a:r>
              <a:rPr lang="en-US">
                <a:solidFill>
                  <a:schemeClr val="bg1">
                    <a:lumMod val="6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etence Groups - Home (sharepoint.com)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 in 25/03/2022, it may need an update. 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Can be converted to project dashboard (SHA.PJM.TPL-17) once enough details are present.</a:t>
            </a:r>
          </a:p>
          <a:p>
            <a:pPr marL="285750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>
                    <a:lumMod val="65000"/>
                  </a:schemeClr>
                </a:solidFill>
              </a:rPr>
              <a:t>Purchaser, regulation consultancy can also be added.</a:t>
            </a:r>
          </a:p>
        </p:txBody>
      </p:sp>
    </p:spTree>
    <p:extLst>
      <p:ext uri="{BB962C8B-B14F-4D97-AF65-F5344CB8AC3E}">
        <p14:creationId xmlns:p14="http://schemas.microsoft.com/office/powerpoint/2010/main" val="42311415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7E62ED-0A84-460F-B789-2B3A19AD5F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260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97E62ED-0A84-460F-B789-2B3A19AD5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E75CF5-4DDC-4E6F-B7C0-02E26645B6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Regulatory De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C5C7B0-67CC-4563-86AC-DB8915CCF8C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50863" y="1262270"/>
            <a:ext cx="11090275" cy="4821730"/>
          </a:xfrm>
        </p:spPr>
        <p:txBody>
          <a:bodyPr>
            <a:normAutofit/>
          </a:bodyPr>
          <a:lstStyle/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Automotive regulations, medical device regulations (like IVDR, CGMP </a:t>
            </a:r>
            <a:r>
              <a:rPr lang="en-US" sz="2400" err="1">
                <a:solidFill>
                  <a:schemeClr val="bg2">
                    <a:lumMod val="65000"/>
                  </a:schemeClr>
                </a:solidFill>
              </a:rPr>
              <a:t>etc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), Applicable international or European Standards (</a:t>
            </a:r>
            <a:r>
              <a:rPr lang="en-US" sz="2400" err="1">
                <a:solidFill>
                  <a:schemeClr val="bg2">
                    <a:lumMod val="65000"/>
                  </a:schemeClr>
                </a:solidFill>
              </a:rPr>
              <a:t>ISOxxxx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, </a:t>
            </a:r>
            <a:r>
              <a:rPr lang="en-US" sz="2400" err="1">
                <a:solidFill>
                  <a:schemeClr val="bg2">
                    <a:lumMod val="65000"/>
                  </a:schemeClr>
                </a:solidFill>
              </a:rPr>
              <a:t>etc</a:t>
            </a:r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), internal quality assurance standards (QMS), et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29D509-6EE1-4536-96B4-A47C41036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8507D-CF89-4A96-A24C-60A783389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613287F-866A-4D9C-8828-290997E46E8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74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2D4727-6E9C-439A-B30B-80F3EBB24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A17E5-792B-48B1-95AE-C76ACCE84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EE3D5EA-377D-4B4C-BA2F-498A7AD0930D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C53E4C-839B-4F2A-BF58-DB3306E75902}"/>
              </a:ext>
            </a:extLst>
          </p:cNvPr>
          <p:cNvSpPr txBox="1">
            <a:spLocks/>
          </p:cNvSpPr>
          <p:nvPr/>
        </p:nvSpPr>
        <p:spPr>
          <a:xfrm>
            <a:off x="627988" y="557039"/>
            <a:ext cx="11090275" cy="1116000"/>
          </a:xfrm>
          <a:prstGeom prst="rect">
            <a:avLst/>
          </a:prstGeom>
        </p:spPr>
        <p:txBody>
          <a:bodyPr vert="horz"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Assumptions / Risks / Potential Mitigation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A20D9B1-E742-4303-B316-477CBE0748A3}"/>
              </a:ext>
            </a:extLst>
          </p:cNvPr>
          <p:cNvSpPr txBox="1">
            <a:spLocks/>
          </p:cNvSpPr>
          <p:nvPr/>
        </p:nvSpPr>
        <p:spPr>
          <a:xfrm>
            <a:off x="550861" y="1179000"/>
            <a:ext cx="11090275" cy="450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800">
                <a:solidFill>
                  <a:schemeClr val="bg2">
                    <a:lumMod val="65000"/>
                  </a:schemeClr>
                </a:solidFill>
              </a:rPr>
              <a:t>Risks foreseen up-front and mitigation methods if applicable together with project assumptions (if applicable)</a:t>
            </a:r>
          </a:p>
          <a:p>
            <a:pPr>
              <a:lnSpc>
                <a:spcPct val="100000"/>
              </a:lnSpc>
            </a:pPr>
            <a:r>
              <a:rPr lang="en-US" sz="2800">
                <a:solidFill>
                  <a:schemeClr val="bg2">
                    <a:lumMod val="65000"/>
                  </a:schemeClr>
                </a:solidFill>
              </a:rPr>
              <a:t>The category list is aligned with the </a:t>
            </a:r>
            <a:r>
              <a:rPr lang="en-GB" sz="2800">
                <a:solidFill>
                  <a:schemeClr val="bg2">
                    <a:lumMod val="65000"/>
                  </a:schemeClr>
                </a:solidFill>
              </a:rPr>
              <a:t>Quotation Guide Card (SHA.SAL.TPL-23, 12 Mar 2021, v04)</a:t>
            </a:r>
            <a:endParaRPr lang="en-US" sz="2800">
              <a:solidFill>
                <a:schemeClr val="bg2">
                  <a:lumMod val="65000"/>
                </a:schemeClr>
              </a:solidFill>
            </a:endParaRPr>
          </a:p>
          <a:p>
            <a:pPr>
              <a:lnSpc>
                <a:spcPct val="100000"/>
              </a:lnSpc>
            </a:pPr>
            <a:endParaRPr lang="en-US" sz="2800">
              <a:solidFill>
                <a:schemeClr val="bg2">
                  <a:lumMod val="65000"/>
                </a:schemeClr>
              </a:solidFill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2DFD8E20-244B-4177-A4C4-B2E19130B981}"/>
              </a:ext>
            </a:extLst>
          </p:cNvPr>
          <p:cNvGraphicFramePr>
            <a:graphicFrameLocks noGrp="1" noChangeAspect="1"/>
          </p:cNvGraphicFramePr>
          <p:nvPr>
            <p:ph idx="10"/>
            <p:extLst>
              <p:ext uri="{D42A27DB-BD31-4B8C-83A1-F6EECF244321}">
                <p14:modId xmlns:p14="http://schemas.microsoft.com/office/powerpoint/2010/main" val="84492665"/>
              </p:ext>
            </p:extLst>
          </p:nvPr>
        </p:nvGraphicFramePr>
        <p:xfrm>
          <a:off x="6089650" y="4170363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Worksheet" r:id="rId4" imgW="9277439" imgH="3762484" progId="Excel.Sheet.12">
                  <p:embed/>
                </p:oleObj>
              </mc:Choice>
              <mc:Fallback>
                <p:oleObj name="Worksheet" r:id="rId4" imgW="9277439" imgH="3762484" progId="Excel.Sheet.12">
                  <p:embed/>
                  <p:pic>
                    <p:nvPicPr>
                      <p:cNvPr id="7" name="Content Placeholder 6">
                        <a:extLst>
                          <a:ext uri="{FF2B5EF4-FFF2-40B4-BE49-F238E27FC236}">
                            <a16:creationId xmlns:a16="http://schemas.microsoft.com/office/drawing/2014/main" id="{2DFD8E20-244B-4177-A4C4-B2E19130B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089650" y="4170363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E63922C7-3F4F-47EA-A6E1-6A93A3BF76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8995647"/>
              </p:ext>
            </p:extLst>
          </p:nvPr>
        </p:nvGraphicFramePr>
        <p:xfrm>
          <a:off x="550863" y="3429000"/>
          <a:ext cx="11352212" cy="2620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7" name="Worksheet" r:id="rId6" imgW="12582569" imgH="2904878" progId="Excel.Sheet.12">
                  <p:embed/>
                </p:oleObj>
              </mc:Choice>
              <mc:Fallback>
                <p:oleObj name="Worksheet" r:id="rId6" imgW="12582569" imgH="2904878" progId="Excel.Sheet.12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E63922C7-3F4F-47EA-A6E1-6A93A3BF7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50863" y="3429000"/>
                        <a:ext cx="11352212" cy="2620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5064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4D2D9E-D4CF-4965-8385-59C3277592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67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4D2D9E-D4CF-4965-8385-59C327759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Contacts for 3IA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786265" y="6589047"/>
            <a:ext cx="3780449" cy="169277"/>
          </a:xfrm>
        </p:spPr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Copyright Sioux 2021 | All Rights Reserved | Confidentia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>
            <a:normAutofit lnSpcReduction="10000"/>
          </a:bodyPr>
          <a:lstStyle/>
          <a:p>
            <a:endParaRPr lang="en-US" sz="2100"/>
          </a:p>
          <a:p>
            <a:r>
              <a:rPr lang="en-US" sz="2100" b="1"/>
              <a:t>Project Manager:	</a:t>
            </a:r>
          </a:p>
          <a:p>
            <a:endParaRPr lang="en-US" sz="2100" b="1"/>
          </a:p>
          <a:p>
            <a:r>
              <a:rPr lang="en-US" sz="2100" b="1"/>
              <a:t>System Architect:</a:t>
            </a:r>
            <a:r>
              <a:rPr lang="en-US" sz="2100"/>
              <a:t>	</a:t>
            </a:r>
          </a:p>
          <a:p>
            <a:endParaRPr lang="en-US" sz="2100"/>
          </a:p>
          <a:p>
            <a:r>
              <a:rPr lang="en-US" sz="2100" b="1"/>
              <a:t>Account Manager:	</a:t>
            </a:r>
          </a:p>
          <a:p>
            <a:pPr marL="0" indent="0">
              <a:buNone/>
            </a:pPr>
            <a:br>
              <a:rPr lang="en-US"/>
            </a:br>
            <a:r>
              <a:rPr lang="en-US"/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2844511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B05351-D8CD-4407-A19C-CB7122773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B05351-D8CD-4407-A19C-CB7122773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5075" y="297643"/>
            <a:ext cx="6372425" cy="1293031"/>
          </a:xfrm>
        </p:spPr>
        <p:txBody>
          <a:bodyPr vert="horz"/>
          <a:lstStyle/>
          <a:p>
            <a:r>
              <a:rPr lang="en-US" dirty="0">
                <a:solidFill>
                  <a:schemeClr val="accent1"/>
                </a:solidFill>
              </a:rPr>
              <a:t>TFS Sensor head enclosure</a:t>
            </a:r>
            <a:br>
              <a:rPr lang="en-US" dirty="0"/>
            </a:br>
            <a:r>
              <a:rPr lang="en-US" sz="2000" b="0" dirty="0">
                <a:latin typeface="+mn-lt"/>
                <a:ea typeface="+mn-ea"/>
                <a:cs typeface="+mn-cs"/>
              </a:rPr>
              <a:t>Development of robust and cost-effective sensor head enclosure for sheet gauging system with high thermal stability</a:t>
            </a:r>
            <a:endParaRPr lang="en-US" sz="2400" b="0" dirty="0">
              <a:latin typeface="+mn-lt"/>
              <a:ea typeface="+mn-ea"/>
              <a:cs typeface="+mn-cs"/>
            </a:endParaRP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idx="13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" b="71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466010" y="6595180"/>
            <a:ext cx="1956749" cy="152349"/>
          </a:xfrm>
        </p:spPr>
        <p:txBody>
          <a:bodyPr/>
          <a:lstStyle/>
          <a:p>
            <a:r>
              <a:rPr lang="en-US"/>
              <a:t>Author: Sioux Technologies 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F774B40F-1134-4123-B711-847458929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jdelijke aanduiding voor voettekst 9">
            <a:extLst>
              <a:ext uri="{FF2B5EF4-FFF2-40B4-BE49-F238E27FC236}">
                <a16:creationId xmlns:a16="http://schemas.microsoft.com/office/drawing/2014/main" id="{3A322539-BF2F-443B-995C-D63DB62769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pic>
        <p:nvPicPr>
          <p:cNvPr id="9" name="Picture 2" descr="Thermo Fisher Scientific Logo">
            <a:extLst>
              <a:ext uri="{FF2B5EF4-FFF2-40B4-BE49-F238E27FC236}">
                <a16:creationId xmlns:a16="http://schemas.microsoft.com/office/drawing/2014/main" id="{B9C37A56-2020-4C1E-B207-310244DD8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0" y="557424"/>
            <a:ext cx="2954943" cy="633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78440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2E27D8-C1A1-433E-8906-ABAF30F1D3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80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2E27D8-C1A1-433E-8906-ABAF30F1D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Source of </a:t>
            </a:r>
            <a:br>
              <a:rPr lang="en-US"/>
            </a:br>
            <a:r>
              <a:rPr lang="en-US"/>
              <a:t>your technology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4EADE057-B1DF-4C93-9CD4-7FF6597C186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036C4C5-7B60-4868-822B-D3313D891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28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 descr="Gauges for Aluminum Rolling Mills">
            <a:extLst>
              <a:ext uri="{FF2B5EF4-FFF2-40B4-BE49-F238E27FC236}">
                <a16:creationId xmlns:a16="http://schemas.microsoft.com/office/drawing/2014/main" id="{60145B5E-D463-4CF9-BD98-60BB211C8F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0" t="25751" r="30769" b="578"/>
          <a:stretch/>
        </p:blipFill>
        <p:spPr bwMode="auto">
          <a:xfrm>
            <a:off x="4359670" y="3408634"/>
            <a:ext cx="3559375" cy="30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D52539-4CD4-41F0-B26D-22CDC50D49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153" y="4158496"/>
            <a:ext cx="3559375" cy="218619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654DBB-1040-4645-ABA5-AFAFC9734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4580A9-44A5-4919-9C1C-44DFEC07C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7318F-645B-4422-A55B-7FFA07E143A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239BE0-09EB-48FE-8084-AD2072A7418B}"/>
              </a:ext>
            </a:extLst>
          </p:cNvPr>
          <p:cNvSpPr txBox="1"/>
          <p:nvPr/>
        </p:nvSpPr>
        <p:spPr>
          <a:xfrm>
            <a:off x="5592114" y="1056443"/>
            <a:ext cx="626694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Context and history in general;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 err="1"/>
              <a:t>Aluminium</a:t>
            </a:r>
            <a:r>
              <a:rPr lang="en-US" dirty="0"/>
              <a:t> foil market is expected to boom in next 3-5 years.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TFS has no product for this market in its portfolio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Delivery issues with current x-ray source supplier</a:t>
            </a:r>
            <a:endParaRPr lang="en-US" b="1" dirty="0"/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Sioux is already making electronics / software for TFS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2DCFD2-2941-4621-8052-901C69F9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6440" y="288395"/>
            <a:ext cx="8330210" cy="768048"/>
          </a:xfrm>
        </p:spPr>
        <p:txBody>
          <a:bodyPr vert="horz"/>
          <a:lstStyle/>
          <a:p>
            <a:r>
              <a:rPr lang="en-US" sz="2800" dirty="0"/>
              <a:t>Modular Sensor Head Enclosure </a:t>
            </a:r>
            <a:br>
              <a:rPr lang="en-US" sz="2800" dirty="0"/>
            </a:br>
            <a:r>
              <a:rPr lang="en-US" sz="1800" dirty="0">
                <a:solidFill>
                  <a:schemeClr val="tx1"/>
                </a:solidFill>
              </a:rPr>
              <a:t>for TFS Xray Thickness Gauges enabling 2</a:t>
            </a:r>
            <a:r>
              <a:rPr lang="en-US" sz="1800" baseline="30000" dirty="0">
                <a:solidFill>
                  <a:schemeClr val="tx1"/>
                </a:solidFill>
              </a:rPr>
              <a:t>nd</a:t>
            </a:r>
            <a:r>
              <a:rPr lang="en-US" sz="1800" dirty="0">
                <a:solidFill>
                  <a:schemeClr val="tx1"/>
                </a:solidFill>
              </a:rPr>
              <a:t> source x-ray supplier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8E185D-13AC-4D91-9F39-6B5FFC1E6246}"/>
              </a:ext>
            </a:extLst>
          </p:cNvPr>
          <p:cNvSpPr txBox="1"/>
          <p:nvPr/>
        </p:nvSpPr>
        <p:spPr>
          <a:xfrm>
            <a:off x="332940" y="1038473"/>
            <a:ext cx="589746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Sensor head enclosure: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Used in </a:t>
            </a:r>
            <a:r>
              <a:rPr lang="en-US" dirty="0" err="1"/>
              <a:t>aluminium</a:t>
            </a:r>
            <a:r>
              <a:rPr lang="en-US" dirty="0"/>
              <a:t> rolling industry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Challenging environment: kerosine, temperatures, fires, collisions.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Thickness measurement 5-700 [micron]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X-ray source: 10 kV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Robust enclosers for source and detector.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Thermal stability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Modular design for serviceability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r>
              <a:rPr lang="en-US" dirty="0"/>
              <a:t>Enables 2</a:t>
            </a:r>
            <a:r>
              <a:rPr lang="en-US" baseline="30000" dirty="0"/>
              <a:t>nd</a:t>
            </a:r>
            <a:r>
              <a:rPr lang="en-US" dirty="0"/>
              <a:t> source x-ray supplier</a:t>
            </a: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endParaRPr lang="en-US" dirty="0"/>
          </a:p>
        </p:txBody>
      </p:sp>
      <p:pic>
        <p:nvPicPr>
          <p:cNvPr id="6" name="Picture 5" descr="A picture containing text, table&#10;&#10;Description automatically generated">
            <a:extLst>
              <a:ext uri="{FF2B5EF4-FFF2-40B4-BE49-F238E27FC236}">
                <a16:creationId xmlns:a16="http://schemas.microsoft.com/office/drawing/2014/main" id="{EC7C85BE-8672-4F4C-B4D3-13835611488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7" t="522" r="7409" b="28984"/>
          <a:stretch/>
        </p:blipFill>
        <p:spPr>
          <a:xfrm>
            <a:off x="8047474" y="4018638"/>
            <a:ext cx="4016174" cy="242464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9B06E47-9522-4707-97AC-7829FEF83F84}"/>
              </a:ext>
            </a:extLst>
          </p:cNvPr>
          <p:cNvSpPr txBox="1"/>
          <p:nvPr/>
        </p:nvSpPr>
        <p:spPr>
          <a:xfrm>
            <a:off x="8639862" y="5670752"/>
            <a:ext cx="809788" cy="2616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sz="1100" dirty="0"/>
              <a:t>SOURCE</a:t>
            </a:r>
            <a:endParaRPr lang="nl-NL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887158-208F-4501-BEAA-5B78973E8C7D}"/>
              </a:ext>
            </a:extLst>
          </p:cNvPr>
          <p:cNvSpPr txBox="1"/>
          <p:nvPr/>
        </p:nvSpPr>
        <p:spPr>
          <a:xfrm>
            <a:off x="10811935" y="4305648"/>
            <a:ext cx="1047125" cy="27699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sz="1200" dirty="0"/>
              <a:t>DETECTOR</a:t>
            </a:r>
            <a:endParaRPr lang="nl-NL" dirty="0" err="1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AB54E6-6682-4C32-96E8-2C9D5E8BF43F}"/>
              </a:ext>
            </a:extLst>
          </p:cNvPr>
          <p:cNvSpPr txBox="1"/>
          <p:nvPr/>
        </p:nvSpPr>
        <p:spPr>
          <a:xfrm>
            <a:off x="6139357" y="3918765"/>
            <a:ext cx="1047125" cy="27699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sz="1200" dirty="0"/>
              <a:t>DETECTOR</a:t>
            </a:r>
            <a:endParaRPr lang="nl-NL" dirty="0" err="1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D8BADB3-40DB-4695-8AB4-5798B8CC58AC}"/>
              </a:ext>
            </a:extLst>
          </p:cNvPr>
          <p:cNvSpPr txBox="1"/>
          <p:nvPr/>
        </p:nvSpPr>
        <p:spPr>
          <a:xfrm>
            <a:off x="6553887" y="5337377"/>
            <a:ext cx="809788" cy="26161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sz="1100" dirty="0"/>
              <a:t>SOURCE</a:t>
            </a:r>
            <a:endParaRPr lang="nl-NL" dirty="0" err="1"/>
          </a:p>
        </p:txBody>
      </p:sp>
    </p:spTree>
    <p:extLst>
      <p:ext uri="{BB962C8B-B14F-4D97-AF65-F5344CB8AC3E}">
        <p14:creationId xmlns:p14="http://schemas.microsoft.com/office/powerpoint/2010/main" val="2184633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36884B8-4F31-40A1-9B1D-20BB8BA221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0467" y="1238934"/>
            <a:ext cx="5508816" cy="435384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EED9991-ED04-48FC-92DE-E1B79B540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215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EED9991-ED04-48FC-92DE-E1B79B540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5389C4-4B5D-4305-84B7-27CA10F88E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068" y="352015"/>
            <a:ext cx="11090275" cy="526252"/>
          </a:xfrm>
        </p:spPr>
        <p:txBody>
          <a:bodyPr vert="horz"/>
          <a:lstStyle/>
          <a:p>
            <a:r>
              <a:rPr lang="en-US"/>
              <a:t>Project Goal, Scope, and Impa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C0802C-30CD-438E-B4A8-74EAE14A04D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36068" y="1093052"/>
            <a:ext cx="5365750" cy="3172709"/>
          </a:xfr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b="1" u="sng" dirty="0"/>
              <a:t>Is:</a:t>
            </a:r>
          </a:p>
          <a:p>
            <a:pPr marL="285750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Engineering project to design a frame and enclosure flat sheet gauging system</a:t>
            </a:r>
          </a:p>
          <a:p>
            <a:pPr marL="285750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The design should be: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Thermally stable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Mechanically robust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Modular for serviceability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Easy to assemble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Cost effective</a:t>
            </a:r>
          </a:p>
          <a:p>
            <a:pPr marL="742950" lvl="1" indent="-285750">
              <a:lnSpc>
                <a:spcPct val="100000"/>
              </a:lnSpc>
              <a:buClr>
                <a:srgbClr val="F15D03"/>
              </a:buClr>
            </a:pPr>
            <a:r>
              <a:rPr lang="en-US" sz="1600" dirty="0"/>
              <a:t>Enable second source x-ray suppli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2BAB3A-84EC-4E5B-9E0B-ABE9B349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B45958-37D1-416A-8912-03680B0C100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6068" y="4371873"/>
            <a:ext cx="5365750" cy="1807546"/>
          </a:xfr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b="1" u="sng" dirty="0"/>
              <a:t>Is-not: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Only engineering project. Production out of scope. Except for 3 protos.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Is not system engineering. Key components out of scope: x-ray source, detector, beam control components. Mostly mechanical.</a:t>
            </a:r>
          </a:p>
          <a:p>
            <a:pPr>
              <a:lnSpc>
                <a:spcPct val="100000"/>
              </a:lnSpc>
            </a:pPr>
            <a:endParaRPr lang="en-US" sz="1600" dirty="0"/>
          </a:p>
          <a:p>
            <a:pPr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AE18E7-6DB8-4B20-806C-E80268E9C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D2B7F3-A223-42EA-A143-E8D4734997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B8E12C-1C88-454B-866E-540AD12DD098}"/>
              </a:ext>
            </a:extLst>
          </p:cNvPr>
          <p:cNvSpPr txBox="1"/>
          <p:nvPr/>
        </p:nvSpPr>
        <p:spPr>
          <a:xfrm>
            <a:off x="8541937" y="5819585"/>
            <a:ext cx="1285875" cy="36933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dirty="0"/>
              <a:t>SOURCE</a:t>
            </a:r>
            <a:endParaRPr lang="nl-NL" dirty="0" err="1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C32477FF-2F67-408B-96C9-3AC2E11667C3}"/>
              </a:ext>
            </a:extLst>
          </p:cNvPr>
          <p:cNvSpPr txBox="1">
            <a:spLocks/>
          </p:cNvSpPr>
          <p:nvPr/>
        </p:nvSpPr>
        <p:spPr>
          <a:xfrm rot="16200000">
            <a:off x="8855381" y="3610207"/>
            <a:ext cx="2352336" cy="4074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rgbClr val="FF0000"/>
                </a:solidFill>
              </a:rPr>
              <a:t>X-RAY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3F1D4395-D472-43BB-9C35-2A2583883477}"/>
              </a:ext>
            </a:extLst>
          </p:cNvPr>
          <p:cNvSpPr txBox="1">
            <a:spLocks/>
          </p:cNvSpPr>
          <p:nvPr/>
        </p:nvSpPr>
        <p:spPr>
          <a:xfrm>
            <a:off x="7388003" y="5123381"/>
            <a:ext cx="3131867" cy="26966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EMITTER</a:t>
            </a:r>
          </a:p>
        </p:txBody>
      </p: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07022B23-318E-4902-B7C6-E0EEE26282B5}"/>
              </a:ext>
            </a:extLst>
          </p:cNvPr>
          <p:cNvSpPr txBox="1">
            <a:spLocks/>
          </p:cNvSpPr>
          <p:nvPr/>
        </p:nvSpPr>
        <p:spPr>
          <a:xfrm>
            <a:off x="8644748" y="2068238"/>
            <a:ext cx="540126" cy="35227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E-BOX</a:t>
            </a:r>
          </a:p>
        </p:txBody>
      </p: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151E885C-1013-4687-83D3-C52000A9C40C}"/>
              </a:ext>
            </a:extLst>
          </p:cNvPr>
          <p:cNvSpPr txBox="1">
            <a:spLocks/>
          </p:cNvSpPr>
          <p:nvPr/>
        </p:nvSpPr>
        <p:spPr>
          <a:xfrm>
            <a:off x="10776942" y="3910223"/>
            <a:ext cx="757476" cy="41031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TEMP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E1ECCA49-D3D0-4429-824D-80A4D8E25BBE}"/>
              </a:ext>
            </a:extLst>
          </p:cNvPr>
          <p:cNvSpPr txBox="1">
            <a:spLocks/>
          </p:cNvSpPr>
          <p:nvPr/>
        </p:nvSpPr>
        <p:spPr>
          <a:xfrm>
            <a:off x="10804455" y="2488040"/>
            <a:ext cx="757476" cy="41031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TEMP</a:t>
            </a: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C147D1BE-41AC-4D96-AEA0-94010EBBFA55}"/>
              </a:ext>
            </a:extLst>
          </p:cNvPr>
          <p:cNvSpPr txBox="1">
            <a:spLocks/>
          </p:cNvSpPr>
          <p:nvPr/>
        </p:nvSpPr>
        <p:spPr>
          <a:xfrm>
            <a:off x="7166898" y="3199089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ALUMINIUM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75E4FBE9-81A8-4F20-A830-59152E376B0B}"/>
              </a:ext>
            </a:extLst>
          </p:cNvPr>
          <p:cNvSpPr txBox="1">
            <a:spLocks/>
          </p:cNvSpPr>
          <p:nvPr/>
        </p:nvSpPr>
        <p:spPr>
          <a:xfrm>
            <a:off x="6175807" y="2299153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COOL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10980F-81AC-453B-8EEA-B151A31AD98B}"/>
              </a:ext>
            </a:extLst>
          </p:cNvPr>
          <p:cNvSpPr txBox="1"/>
          <p:nvPr/>
        </p:nvSpPr>
        <p:spPr>
          <a:xfrm>
            <a:off x="8534352" y="740863"/>
            <a:ext cx="1438085" cy="36933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rgbClr val="F15D03"/>
              </a:buClr>
            </a:pPr>
            <a:r>
              <a:rPr lang="en-US" dirty="0"/>
              <a:t>DETECTOR</a:t>
            </a:r>
            <a:endParaRPr lang="nl-NL" dirty="0" err="1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2F687ED9-3370-4483-87DB-F492621AB3A6}"/>
              </a:ext>
            </a:extLst>
          </p:cNvPr>
          <p:cNvSpPr txBox="1">
            <a:spLocks/>
          </p:cNvSpPr>
          <p:nvPr/>
        </p:nvSpPr>
        <p:spPr>
          <a:xfrm>
            <a:off x="6175807" y="3961563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COOLING</a:t>
            </a:r>
          </a:p>
        </p:txBody>
      </p:sp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CD0A7553-2FCD-4515-9193-3ED0B12419A3}"/>
              </a:ext>
            </a:extLst>
          </p:cNvPr>
          <p:cNvSpPr txBox="1">
            <a:spLocks/>
          </p:cNvSpPr>
          <p:nvPr/>
        </p:nvSpPr>
        <p:spPr>
          <a:xfrm>
            <a:off x="6013942" y="1824474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CONNECTOR</a:t>
            </a:r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1F7A1FB7-77AF-4BD9-9054-DE534428F1B3}"/>
              </a:ext>
            </a:extLst>
          </p:cNvPr>
          <p:cNvSpPr txBox="1">
            <a:spLocks/>
          </p:cNvSpPr>
          <p:nvPr/>
        </p:nvSpPr>
        <p:spPr>
          <a:xfrm>
            <a:off x="6013942" y="4527385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CONNECTOR</a:t>
            </a:r>
          </a:p>
        </p:txBody>
      </p:sp>
      <p:sp>
        <p:nvSpPr>
          <p:cNvPr id="28" name="Content Placeholder 9">
            <a:extLst>
              <a:ext uri="{FF2B5EF4-FFF2-40B4-BE49-F238E27FC236}">
                <a16:creationId xmlns:a16="http://schemas.microsoft.com/office/drawing/2014/main" id="{4D713934-1B20-42C4-A616-74AAB156999F}"/>
              </a:ext>
            </a:extLst>
          </p:cNvPr>
          <p:cNvSpPr txBox="1">
            <a:spLocks/>
          </p:cNvSpPr>
          <p:nvPr/>
        </p:nvSpPr>
        <p:spPr>
          <a:xfrm>
            <a:off x="5901818" y="5011753"/>
            <a:ext cx="1265080" cy="526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MOUNTING INTERFACE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17DB4695-CDF0-4EE1-860B-630A6A81C933}"/>
              </a:ext>
            </a:extLst>
          </p:cNvPr>
          <p:cNvSpPr txBox="1">
            <a:spLocks/>
          </p:cNvSpPr>
          <p:nvPr/>
        </p:nvSpPr>
        <p:spPr>
          <a:xfrm>
            <a:off x="5953005" y="1265226"/>
            <a:ext cx="1265080" cy="526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MOUNTING INTERFACE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A12B7859-6411-475B-9822-8EC85EB665E6}"/>
              </a:ext>
            </a:extLst>
          </p:cNvPr>
          <p:cNvSpPr txBox="1">
            <a:spLocks/>
          </p:cNvSpPr>
          <p:nvPr/>
        </p:nvSpPr>
        <p:spPr>
          <a:xfrm>
            <a:off x="7279022" y="5455681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ENCLOSURE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ACF4C859-AC6F-44CD-A8AE-FC0868190C03}"/>
              </a:ext>
            </a:extLst>
          </p:cNvPr>
          <p:cNvSpPr txBox="1">
            <a:spLocks/>
          </p:cNvSpPr>
          <p:nvPr/>
        </p:nvSpPr>
        <p:spPr>
          <a:xfrm>
            <a:off x="7218085" y="921896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ENCLOSURE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08E7C0F4-5CFD-43C5-A848-0DF26D5CB5DF}"/>
              </a:ext>
            </a:extLst>
          </p:cNvPr>
          <p:cNvSpPr txBox="1">
            <a:spLocks/>
          </p:cNvSpPr>
          <p:nvPr/>
        </p:nvSpPr>
        <p:spPr>
          <a:xfrm>
            <a:off x="7502518" y="4127385"/>
            <a:ext cx="1349301" cy="6402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STABILITY MEASUREMENT</a:t>
            </a:r>
          </a:p>
        </p:txBody>
      </p: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C621DFE4-C34C-49D9-8DEA-17615A76FB92}"/>
              </a:ext>
            </a:extLst>
          </p:cNvPr>
          <p:cNvSpPr txBox="1">
            <a:spLocks/>
          </p:cNvSpPr>
          <p:nvPr/>
        </p:nvSpPr>
        <p:spPr>
          <a:xfrm>
            <a:off x="9448725" y="1995477"/>
            <a:ext cx="1071145" cy="6402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X-RAY SENSOR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5E6FB893-A52A-43BE-935D-F9ACC4C664C0}"/>
              </a:ext>
            </a:extLst>
          </p:cNvPr>
          <p:cNvSpPr txBox="1">
            <a:spLocks/>
          </p:cNvSpPr>
          <p:nvPr/>
        </p:nvSpPr>
        <p:spPr>
          <a:xfrm>
            <a:off x="9106998" y="4017122"/>
            <a:ext cx="1265080" cy="410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EAM CONTROL</a:t>
            </a:r>
          </a:p>
        </p:txBody>
      </p:sp>
    </p:spTree>
    <p:extLst>
      <p:ext uri="{BB962C8B-B14F-4D97-AF65-F5344CB8AC3E}">
        <p14:creationId xmlns:p14="http://schemas.microsoft.com/office/powerpoint/2010/main" val="1859944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EED9991-ED04-48FC-92DE-E1B79B540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EED9991-ED04-48FC-92DE-E1B79B540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2BAB3A-84EC-4E5B-9E0B-ABE9B349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AE18E7-6DB8-4B20-806C-E80268E9C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D2B7F3-A223-42EA-A143-E8D4734997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844484C-532E-470A-BFC8-AD3A36D705FA}"/>
              </a:ext>
            </a:extLst>
          </p:cNvPr>
          <p:cNvSpPr txBox="1">
            <a:spLocks/>
          </p:cNvSpPr>
          <p:nvPr/>
        </p:nvSpPr>
        <p:spPr>
          <a:xfrm>
            <a:off x="536068" y="1109420"/>
            <a:ext cx="5340857" cy="51866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 lIns="0" tIns="0" rIns="0" bIns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000" b="1" u="sng" dirty="0"/>
              <a:t>Goal and customer business case:</a:t>
            </a:r>
          </a:p>
          <a:p>
            <a:r>
              <a:rPr lang="en-US" sz="2100" dirty="0"/>
              <a:t>Within their flat sheet gauging solutions TFS is looking to improve their position in the </a:t>
            </a:r>
            <a:r>
              <a:rPr lang="en-US" sz="2100" dirty="0" err="1"/>
              <a:t>aluminium</a:t>
            </a:r>
            <a:r>
              <a:rPr lang="en-US" sz="2100" dirty="0"/>
              <a:t> foil market.</a:t>
            </a:r>
          </a:p>
          <a:p>
            <a:r>
              <a:rPr lang="en-US" sz="2100" dirty="0"/>
              <a:t>A solution existed in their portfolio but is considered obsolete.</a:t>
            </a:r>
          </a:p>
          <a:p>
            <a:r>
              <a:rPr lang="en-US" sz="2100" dirty="0"/>
              <a:t>The overall project seeks out to develop a new solution for the </a:t>
            </a:r>
            <a:r>
              <a:rPr lang="en-US" sz="2100" dirty="0" err="1"/>
              <a:t>aluminium</a:t>
            </a:r>
            <a:r>
              <a:rPr lang="en-US" sz="2100" dirty="0"/>
              <a:t> foil market.</a:t>
            </a:r>
          </a:p>
          <a:p>
            <a:r>
              <a:rPr lang="en-US" sz="2100" dirty="0"/>
              <a:t>Objective USPs: superior thermal stability and optimal serviceability.</a:t>
            </a:r>
          </a:p>
          <a:p>
            <a:r>
              <a:rPr lang="en-US" sz="2100" dirty="0"/>
              <a:t>TFS plans to build 25-50 systems / year.</a:t>
            </a:r>
          </a:p>
          <a:p>
            <a:r>
              <a:rPr lang="en-US" sz="2000" dirty="0"/>
              <a:t>Cost target source part 12k EURO.</a:t>
            </a:r>
          </a:p>
          <a:p>
            <a:r>
              <a:rPr lang="en-US" sz="2000" dirty="0"/>
              <a:t>Delivery of 3 protos. At least 1 end 2023.</a:t>
            </a:r>
          </a:p>
          <a:p>
            <a:r>
              <a:rPr lang="en-US" sz="2100" dirty="0"/>
              <a:t>FUMO foreseen for lifetime testing.</a:t>
            </a:r>
          </a:p>
          <a:p>
            <a:pPr marL="0" indent="0">
              <a:buNone/>
            </a:pPr>
            <a:endParaRPr lang="en-US" sz="2100" i="1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13E038B-9F0B-4C0E-BCA9-26AA6BFE2B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6068" y="352015"/>
            <a:ext cx="11090275" cy="526252"/>
          </a:xfrm>
        </p:spPr>
        <p:txBody>
          <a:bodyPr vert="horz"/>
          <a:lstStyle/>
          <a:p>
            <a:r>
              <a:rPr lang="en-US"/>
              <a:t>Project Goal, Scope, and Impact</a:t>
            </a:r>
          </a:p>
        </p:txBody>
      </p:sp>
      <p:pic>
        <p:nvPicPr>
          <p:cNvPr id="3" name="Picture 2">
            <a:hlinkClick r:id="rId7"/>
            <a:extLst>
              <a:ext uri="{FF2B5EF4-FFF2-40B4-BE49-F238E27FC236}">
                <a16:creationId xmlns:a16="http://schemas.microsoft.com/office/drawing/2014/main" id="{1B4C027B-2714-4D0F-B371-E8F5D86F50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3603" y="1109420"/>
            <a:ext cx="4827822" cy="2385059"/>
          </a:xfrm>
          <a:prstGeom prst="rect">
            <a:avLst/>
          </a:prstGeom>
        </p:spPr>
      </p:pic>
      <p:pic>
        <p:nvPicPr>
          <p:cNvPr id="10" name="Content Placeholder 9">
            <a:hlinkClick r:id="rId9"/>
            <a:extLst>
              <a:ext uri="{FF2B5EF4-FFF2-40B4-BE49-F238E27FC236}">
                <a16:creationId xmlns:a16="http://schemas.microsoft.com/office/drawing/2014/main" id="{CCA3AC6D-14E4-45AF-9E00-6A0C362AFEE3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10"/>
          <a:stretch>
            <a:fillRect/>
          </a:stretch>
        </p:blipFill>
        <p:spPr>
          <a:xfrm>
            <a:off x="6573603" y="3494479"/>
            <a:ext cx="4827821" cy="296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396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425CB-F51B-486A-90FB-60C78F936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52701"/>
            <a:ext cx="11090275" cy="1116000"/>
          </a:xfrm>
        </p:spPr>
        <p:txBody>
          <a:bodyPr anchor="t">
            <a:normAutofit/>
          </a:bodyPr>
          <a:lstStyle/>
          <a:p>
            <a:r>
              <a:rPr lang="en-US" b="1" i="0">
                <a:effectLst/>
              </a:rPr>
              <a:t>Business Decomposition Overview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AF33637-5330-4DB6-90B3-FF8585C4CA4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50863" y="1263949"/>
            <a:ext cx="4796746" cy="4500000"/>
          </a:xfrm>
        </p:spPr>
        <p:txBody>
          <a:bodyPr>
            <a:normAutofit fontScale="85000" lnSpcReduction="10000"/>
          </a:bodyPr>
          <a:lstStyle/>
          <a:p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High level overview of work packages with external stakeholders including the company names and high level roles, </a:t>
            </a:r>
          </a:p>
          <a:p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i.e. which party is responsible for what</a:t>
            </a:r>
          </a:p>
          <a:p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Use of different colors for different parties is recommended.</a:t>
            </a:r>
          </a:p>
          <a:p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Use of orange is recommended for Sioux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3BAFA-41AA-41C9-91FA-07FFAC493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E5DB763-12CC-464D-90CD-5DE35E233077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7667C-86C0-45D7-8410-475A9D8B6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Sioux 2021 | Confidentia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DF1A12F-6E0A-4103-8090-4F4D53545E0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75389" y="5125914"/>
            <a:ext cx="5365750" cy="958085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400" dirty="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15F6D19D-C92C-480D-A94B-3C5A54FA83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7090925"/>
              </p:ext>
            </p:extLst>
          </p:nvPr>
        </p:nvGraphicFramePr>
        <p:xfrm>
          <a:off x="5484022" y="1533524"/>
          <a:ext cx="6020702" cy="24259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94840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425CB-F51B-486A-90FB-60C78F936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3" y="552701"/>
            <a:ext cx="11090275" cy="1116000"/>
          </a:xfrm>
        </p:spPr>
        <p:txBody>
          <a:bodyPr anchor="t">
            <a:normAutofit/>
          </a:bodyPr>
          <a:lstStyle/>
          <a:p>
            <a:r>
              <a:rPr lang="en-US"/>
              <a:t>Engineering Decomposition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AF33637-5330-4DB6-90B3-FF8585C4CA4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61233" y="1081673"/>
            <a:ext cx="5365750" cy="4779499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bg2">
                    <a:lumMod val="65000"/>
                  </a:schemeClr>
                </a:solidFill>
              </a:rPr>
              <a:t>More detailed view to Sioux’s work packages [S-WP] including out-sourced [O-WP] work packages and the external work packages (like work packages for customer or other parties, partners [P-WP], etc.)</a:t>
            </a:r>
          </a:p>
          <a:p>
            <a:r>
              <a:rPr lang="en-US" sz="1800" dirty="0">
                <a:solidFill>
                  <a:schemeClr val="bg2">
                    <a:lumMod val="65000"/>
                  </a:schemeClr>
                </a:solidFill>
              </a:rPr>
              <a:t>End-users can be included if applicable.</a:t>
            </a:r>
          </a:p>
          <a:p>
            <a:r>
              <a:rPr lang="en-US" sz="1800" dirty="0">
                <a:solidFill>
                  <a:schemeClr val="bg2">
                    <a:lumMod val="65000"/>
                  </a:schemeClr>
                </a:solidFill>
              </a:rPr>
              <a:t>Use of different colors for different parties is recommended. Keep the same color convention through the presentation.</a:t>
            </a:r>
          </a:p>
          <a:p>
            <a:r>
              <a:rPr lang="en-US" sz="1800" dirty="0">
                <a:solidFill>
                  <a:schemeClr val="bg2">
                    <a:lumMod val="65000"/>
                  </a:schemeClr>
                </a:solidFill>
              </a:rPr>
              <a:t>Planned meetings including the informative names (steering, technical discussion etc.) and frequencies (one a week etc.)</a:t>
            </a: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53BAFA-41AA-41C9-91FA-07FFAC493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18263" y="6583686"/>
            <a:ext cx="281594" cy="18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E5DB763-12CC-464D-90CD-5DE35E233077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7667C-86C0-45D7-8410-475A9D8B6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32310" y="6589047"/>
            <a:ext cx="1834404" cy="169277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Sioux 2021 | Confidential</a:t>
            </a:r>
          </a:p>
        </p:txBody>
      </p:sp>
      <p:graphicFrame>
        <p:nvGraphicFramePr>
          <p:cNvPr id="32" name="Content Placeholder 7">
            <a:extLst>
              <a:ext uri="{FF2B5EF4-FFF2-40B4-BE49-F238E27FC236}">
                <a16:creationId xmlns:a16="http://schemas.microsoft.com/office/drawing/2014/main" id="{E33173EF-638F-44D9-8C0B-0F093A8A1E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84459"/>
              </p:ext>
            </p:extLst>
          </p:nvPr>
        </p:nvGraphicFramePr>
        <p:xfrm>
          <a:off x="6170139" y="773809"/>
          <a:ext cx="5555508" cy="4657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FDC4AB7A-4A1B-44A6-ACD8-8A28BE3281F4}"/>
              </a:ext>
            </a:extLst>
          </p:cNvPr>
          <p:cNvSpPr txBox="1"/>
          <p:nvPr/>
        </p:nvSpPr>
        <p:spPr>
          <a:xfrm>
            <a:off x="6096000" y="571485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>
                <a:solidFill>
                  <a:schemeClr val="bg2">
                    <a:lumMod val="65000"/>
                  </a:schemeClr>
                </a:solidFill>
              </a:rPr>
              <a:t>SmartArt Design Tab can be used to change the diagram </a:t>
            </a:r>
          </a:p>
        </p:txBody>
      </p:sp>
    </p:spTree>
    <p:extLst>
      <p:ext uri="{BB962C8B-B14F-4D97-AF65-F5344CB8AC3E}">
        <p14:creationId xmlns:p14="http://schemas.microsoft.com/office/powerpoint/2010/main" val="3659182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808262-50C7-4431-A41F-CD2ED6DD9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691849" y="6576072"/>
            <a:ext cx="1783108" cy="169277"/>
          </a:xfrm>
        </p:spPr>
        <p:txBody>
          <a:bodyPr/>
          <a:lstStyle/>
          <a:p>
            <a:r>
              <a:rPr lang="en-US" dirty="0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9C82B4-8962-4C22-AD06-0C1A0D6C5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72AEB6-F7B4-404B-820F-720375C3910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C386-31BC-469A-A43C-4998ABDC86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869" y="1384467"/>
            <a:ext cx="5172667" cy="40881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E2F3B73-3136-4622-AAF2-49BF84CCF3EB}"/>
              </a:ext>
            </a:extLst>
          </p:cNvPr>
          <p:cNvSpPr txBox="1"/>
          <p:nvPr/>
        </p:nvSpPr>
        <p:spPr>
          <a:xfrm>
            <a:off x="466148" y="1199275"/>
            <a:ext cx="3053895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ourc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Outer enclosur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Cooling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tability measurement modul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Ionization chambe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mitter modul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lectronics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HV supply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ourc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hutte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Beam control modul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Collimato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Pre-filte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ample holde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xternal temperature sensor enclosure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Temperature sensor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Aluminum exit window</a:t>
            </a: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457200" indent="-457200">
              <a:buClr>
                <a:srgbClr val="F15D03"/>
              </a:buClr>
              <a:buFont typeface="+mj-lt"/>
              <a:buAutoNum type="arabi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65E976A-2DF4-4A66-BE20-A225F9E4E56D}"/>
              </a:ext>
            </a:extLst>
          </p:cNvPr>
          <p:cNvSpPr/>
          <p:nvPr/>
        </p:nvSpPr>
        <p:spPr>
          <a:xfrm>
            <a:off x="3245537" y="4096766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2</a:t>
            </a:r>
            <a:endParaRPr lang="nl-NL" sz="1200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04F5C480-5966-4E1D-B626-B565DA80A5B6}"/>
              </a:ext>
            </a:extLst>
          </p:cNvPr>
          <p:cNvSpPr txBox="1">
            <a:spLocks/>
          </p:cNvSpPr>
          <p:nvPr/>
        </p:nvSpPr>
        <p:spPr>
          <a:xfrm>
            <a:off x="5179320" y="1056443"/>
            <a:ext cx="1512252" cy="29861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chemeClr val="tx1"/>
                </a:solidFill>
              </a:rPr>
              <a:t>DETECTOR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1D7342FA-F32F-4ABF-8C97-60AE1A63A8F5}"/>
              </a:ext>
            </a:extLst>
          </p:cNvPr>
          <p:cNvSpPr txBox="1">
            <a:spLocks/>
          </p:cNvSpPr>
          <p:nvPr/>
        </p:nvSpPr>
        <p:spPr>
          <a:xfrm>
            <a:off x="5210423" y="6161618"/>
            <a:ext cx="1512252" cy="29861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chemeClr val="tx1"/>
                </a:solidFill>
              </a:rPr>
              <a:t>SOURC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60E1DD5-3870-44F9-8C7D-E0ADF22DBB2F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3609522" y="4274320"/>
            <a:ext cx="922176" cy="125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92028C37-6411-41C0-A4E3-548EED9EF3B8}"/>
              </a:ext>
            </a:extLst>
          </p:cNvPr>
          <p:cNvSpPr/>
          <p:nvPr/>
        </p:nvSpPr>
        <p:spPr>
          <a:xfrm>
            <a:off x="3251281" y="4538838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3</a:t>
            </a:r>
            <a:endParaRPr lang="nl-NL" sz="12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CDE3F73-C560-436B-BFA8-A6247214F4DB}"/>
              </a:ext>
            </a:extLst>
          </p:cNvPr>
          <p:cNvCxnSpPr>
            <a:cxnSpLocks/>
          </p:cNvCxnSpPr>
          <p:nvPr/>
        </p:nvCxnSpPr>
        <p:spPr>
          <a:xfrm flipV="1">
            <a:off x="3609523" y="4457900"/>
            <a:ext cx="1183421" cy="2691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D819E0D1-1D05-47CB-AC5E-28B285861177}"/>
              </a:ext>
            </a:extLst>
          </p:cNvPr>
          <p:cNvSpPr/>
          <p:nvPr/>
        </p:nvSpPr>
        <p:spPr>
          <a:xfrm>
            <a:off x="3251281" y="4974884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4</a:t>
            </a:r>
            <a:endParaRPr lang="nl-NL" sz="12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81DE175-18F2-4269-97A0-0A56949628B5}"/>
              </a:ext>
            </a:extLst>
          </p:cNvPr>
          <p:cNvCxnSpPr>
            <a:cxnSpLocks/>
            <a:stCxn id="19" idx="6"/>
          </p:cNvCxnSpPr>
          <p:nvPr/>
        </p:nvCxnSpPr>
        <p:spPr>
          <a:xfrm flipV="1">
            <a:off x="3615266" y="4387547"/>
            <a:ext cx="1595157" cy="7648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C9C8BA-6983-4816-96F0-5CBDC7CDA482}"/>
              </a:ext>
            </a:extLst>
          </p:cNvPr>
          <p:cNvCxnSpPr>
            <a:cxnSpLocks/>
          </p:cNvCxnSpPr>
          <p:nvPr/>
        </p:nvCxnSpPr>
        <p:spPr>
          <a:xfrm flipV="1">
            <a:off x="3615266" y="5145916"/>
            <a:ext cx="952545" cy="4425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873CA6C-D5E6-4459-8D57-97A6F0F2FEF2}"/>
              </a:ext>
            </a:extLst>
          </p:cNvPr>
          <p:cNvCxnSpPr>
            <a:cxnSpLocks/>
          </p:cNvCxnSpPr>
          <p:nvPr/>
        </p:nvCxnSpPr>
        <p:spPr>
          <a:xfrm flipV="1">
            <a:off x="4504251" y="4974884"/>
            <a:ext cx="560460" cy="7675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7D6AA011-DAD9-4991-8253-50525BFBFFAC}"/>
              </a:ext>
            </a:extLst>
          </p:cNvPr>
          <p:cNvSpPr/>
          <p:nvPr/>
        </p:nvSpPr>
        <p:spPr>
          <a:xfrm>
            <a:off x="5753454" y="5714225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7</a:t>
            </a:r>
            <a:endParaRPr lang="nl-NL" sz="1200" dirty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DFC5B7A-1365-4D61-8295-C11AE1BCD864}"/>
              </a:ext>
            </a:extLst>
          </p:cNvPr>
          <p:cNvCxnSpPr>
            <a:cxnSpLocks/>
            <a:stCxn id="31" idx="0"/>
          </p:cNvCxnSpPr>
          <p:nvPr/>
        </p:nvCxnSpPr>
        <p:spPr>
          <a:xfrm flipV="1">
            <a:off x="5935447" y="5036907"/>
            <a:ext cx="203106" cy="6773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3D549FD6-78C3-4879-8BB0-83758925085B}"/>
              </a:ext>
            </a:extLst>
          </p:cNvPr>
          <p:cNvSpPr/>
          <p:nvPr/>
        </p:nvSpPr>
        <p:spPr>
          <a:xfrm>
            <a:off x="6863577" y="5691015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8</a:t>
            </a:r>
            <a:endParaRPr lang="nl-NL" sz="1200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401BF58-50E7-419C-9DFB-9EE3CC08DB78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7045569" y="5036907"/>
            <a:ext cx="1" cy="6541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5E25604C-3DDB-4CD1-B1D0-84DBEDA3BD45}"/>
              </a:ext>
            </a:extLst>
          </p:cNvPr>
          <p:cNvSpPr/>
          <p:nvPr/>
        </p:nvSpPr>
        <p:spPr>
          <a:xfrm>
            <a:off x="8745992" y="5432656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0</a:t>
            </a:r>
            <a:endParaRPr lang="nl-NL" sz="1200" dirty="0"/>
          </a:p>
        </p:txBody>
      </p:sp>
      <p:sp>
        <p:nvSpPr>
          <p:cNvPr id="40" name="Content Placeholder 9">
            <a:extLst>
              <a:ext uri="{FF2B5EF4-FFF2-40B4-BE49-F238E27FC236}">
                <a16:creationId xmlns:a16="http://schemas.microsoft.com/office/drawing/2014/main" id="{CE6D3FF9-7179-4362-AE4E-240F20A99B18}"/>
              </a:ext>
            </a:extLst>
          </p:cNvPr>
          <p:cNvSpPr txBox="1">
            <a:spLocks/>
          </p:cNvSpPr>
          <p:nvPr/>
        </p:nvSpPr>
        <p:spPr>
          <a:xfrm rot="16200000">
            <a:off x="6246718" y="3343513"/>
            <a:ext cx="1512252" cy="298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rgbClr val="FF0000"/>
                </a:solidFill>
              </a:rPr>
              <a:t>X-RAY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B5139F4-AC76-4FB6-A5E8-EC9BDACEC790}"/>
              </a:ext>
            </a:extLst>
          </p:cNvPr>
          <p:cNvCxnSpPr>
            <a:cxnSpLocks/>
            <a:stCxn id="135" idx="1"/>
          </p:cNvCxnSpPr>
          <p:nvPr/>
        </p:nvCxnSpPr>
        <p:spPr>
          <a:xfrm flipH="1" flipV="1">
            <a:off x="7406519" y="4769990"/>
            <a:ext cx="618163" cy="9714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B1625A60-5043-40EB-A3AC-04E4C8303C57}"/>
              </a:ext>
            </a:extLst>
          </p:cNvPr>
          <p:cNvSpPr/>
          <p:nvPr/>
        </p:nvSpPr>
        <p:spPr>
          <a:xfrm>
            <a:off x="8745992" y="5002645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1</a:t>
            </a:r>
            <a:endParaRPr lang="nl-NL" sz="1200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3188549-F7B1-4D2E-9168-7F221D9C369F}"/>
              </a:ext>
            </a:extLst>
          </p:cNvPr>
          <p:cNvCxnSpPr>
            <a:cxnSpLocks/>
            <a:stCxn id="39" idx="2"/>
          </p:cNvCxnSpPr>
          <p:nvPr/>
        </p:nvCxnSpPr>
        <p:spPr>
          <a:xfrm flipH="1" flipV="1">
            <a:off x="7412522" y="4626060"/>
            <a:ext cx="1333470" cy="984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45E5DF25-FDE8-43CF-95DC-C66559DE2C7A}"/>
              </a:ext>
            </a:extLst>
          </p:cNvPr>
          <p:cNvSpPr/>
          <p:nvPr/>
        </p:nvSpPr>
        <p:spPr>
          <a:xfrm>
            <a:off x="8734652" y="4575662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2</a:t>
            </a:r>
            <a:endParaRPr lang="nl-NL" sz="1200" dirty="0"/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5021971-FE22-4203-9C56-FB8ED1E4C58F}"/>
              </a:ext>
            </a:extLst>
          </p:cNvPr>
          <p:cNvCxnSpPr>
            <a:cxnSpLocks/>
            <a:stCxn id="44" idx="2"/>
          </p:cNvCxnSpPr>
          <p:nvPr/>
        </p:nvCxnSpPr>
        <p:spPr>
          <a:xfrm flipH="1" flipV="1">
            <a:off x="7340276" y="4541142"/>
            <a:ext cx="1405716" cy="6390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7744FDD-1E0F-41C8-B623-1A4F22AFF430}"/>
              </a:ext>
            </a:extLst>
          </p:cNvPr>
          <p:cNvSpPr/>
          <p:nvPr/>
        </p:nvSpPr>
        <p:spPr>
          <a:xfrm>
            <a:off x="8745992" y="4145918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3</a:t>
            </a:r>
            <a:endParaRPr lang="nl-NL" sz="1200" dirty="0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EF420C8-D9EF-4A70-B295-5F2E37814408}"/>
              </a:ext>
            </a:extLst>
          </p:cNvPr>
          <p:cNvCxnSpPr>
            <a:cxnSpLocks/>
            <a:stCxn id="47" idx="2"/>
          </p:cNvCxnSpPr>
          <p:nvPr/>
        </p:nvCxnSpPr>
        <p:spPr>
          <a:xfrm flipH="1" flipV="1">
            <a:off x="7340276" y="4370913"/>
            <a:ext cx="1394376" cy="3823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FA24EB68-B3D0-499E-AE83-BCF0D3A6F310}"/>
              </a:ext>
            </a:extLst>
          </p:cNvPr>
          <p:cNvSpPr/>
          <p:nvPr/>
        </p:nvSpPr>
        <p:spPr>
          <a:xfrm>
            <a:off x="8745991" y="3715907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4</a:t>
            </a:r>
            <a:endParaRPr lang="nl-NL" sz="1200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AE2AF87-4949-41EA-A56D-92C6AD845854}"/>
              </a:ext>
            </a:extLst>
          </p:cNvPr>
          <p:cNvCxnSpPr>
            <a:cxnSpLocks/>
            <a:stCxn id="52" idx="2"/>
          </p:cNvCxnSpPr>
          <p:nvPr/>
        </p:nvCxnSpPr>
        <p:spPr>
          <a:xfrm flipH="1" flipV="1">
            <a:off x="7340276" y="4255063"/>
            <a:ext cx="1405716" cy="684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id="{19CB7A2F-FCD8-4C3A-A909-8057B3399FE5}"/>
              </a:ext>
            </a:extLst>
          </p:cNvPr>
          <p:cNvSpPr/>
          <p:nvPr/>
        </p:nvSpPr>
        <p:spPr>
          <a:xfrm>
            <a:off x="3245537" y="3655962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</a:t>
            </a:r>
            <a:endParaRPr lang="nl-NL" sz="1200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DB0668C-418A-4DF1-826F-48E8D01C9512}"/>
              </a:ext>
            </a:extLst>
          </p:cNvPr>
          <p:cNvCxnSpPr>
            <a:cxnSpLocks/>
            <a:stCxn id="70" idx="6"/>
          </p:cNvCxnSpPr>
          <p:nvPr/>
        </p:nvCxnSpPr>
        <p:spPr>
          <a:xfrm>
            <a:off x="3609522" y="3833516"/>
            <a:ext cx="779754" cy="105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93836407-6BFF-49D9-9FDF-71726A36243F}"/>
              </a:ext>
            </a:extLst>
          </p:cNvPr>
          <p:cNvSpPr/>
          <p:nvPr/>
        </p:nvSpPr>
        <p:spPr>
          <a:xfrm>
            <a:off x="8004336" y="3308230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5</a:t>
            </a:r>
            <a:endParaRPr lang="nl-NL" sz="1200" dirty="0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4AAEEE8-A2C4-449E-A138-C2EA7A2D854F}"/>
              </a:ext>
            </a:extLst>
          </p:cNvPr>
          <p:cNvCxnSpPr>
            <a:cxnSpLocks/>
          </p:cNvCxnSpPr>
          <p:nvPr/>
        </p:nvCxnSpPr>
        <p:spPr>
          <a:xfrm flipH="1">
            <a:off x="8477890" y="3893196"/>
            <a:ext cx="256762" cy="1178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>
            <a:extLst>
              <a:ext uri="{FF2B5EF4-FFF2-40B4-BE49-F238E27FC236}">
                <a16:creationId xmlns:a16="http://schemas.microsoft.com/office/drawing/2014/main" id="{47D72857-F33D-4746-8A1F-2BA00E9BB285}"/>
              </a:ext>
            </a:extLst>
          </p:cNvPr>
          <p:cNvSpPr/>
          <p:nvPr/>
        </p:nvSpPr>
        <p:spPr>
          <a:xfrm>
            <a:off x="4203826" y="5677383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6</a:t>
            </a:r>
            <a:endParaRPr lang="nl-NL" sz="1200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9229D16-0116-4915-B3BE-7CB5AB12663B}"/>
              </a:ext>
            </a:extLst>
          </p:cNvPr>
          <p:cNvSpPr/>
          <p:nvPr/>
        </p:nvSpPr>
        <p:spPr>
          <a:xfrm>
            <a:off x="3251280" y="5449064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5</a:t>
            </a:r>
            <a:endParaRPr lang="nl-NL" sz="1200" dirty="0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1191C40D-0323-465E-9644-BFA17B29D05F}"/>
              </a:ext>
            </a:extLst>
          </p:cNvPr>
          <p:cNvSpPr/>
          <p:nvPr/>
        </p:nvSpPr>
        <p:spPr>
          <a:xfrm>
            <a:off x="3239597" y="1393136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D</a:t>
            </a:r>
            <a:endParaRPr lang="nl-NL" sz="1200" dirty="0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4D1602E-F638-4B2E-8494-1DD66A7C3075}"/>
              </a:ext>
            </a:extLst>
          </p:cNvPr>
          <p:cNvCxnSpPr>
            <a:cxnSpLocks/>
          </p:cNvCxnSpPr>
          <p:nvPr/>
        </p:nvCxnSpPr>
        <p:spPr>
          <a:xfrm>
            <a:off x="3491139" y="2501334"/>
            <a:ext cx="1076672" cy="72175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0" name="Oval 99">
            <a:extLst>
              <a:ext uri="{FF2B5EF4-FFF2-40B4-BE49-F238E27FC236}">
                <a16:creationId xmlns:a16="http://schemas.microsoft.com/office/drawing/2014/main" id="{6DE6E722-8804-4AAC-A064-68DAA8FAE289}"/>
              </a:ext>
            </a:extLst>
          </p:cNvPr>
          <p:cNvSpPr/>
          <p:nvPr/>
        </p:nvSpPr>
        <p:spPr>
          <a:xfrm>
            <a:off x="3239598" y="2807961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A</a:t>
            </a:r>
            <a:endParaRPr lang="nl-NL" sz="1200" dirty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379463D-B617-47E6-9A96-CEEA6B754F59}"/>
              </a:ext>
            </a:extLst>
          </p:cNvPr>
          <p:cNvCxnSpPr>
            <a:cxnSpLocks/>
          </p:cNvCxnSpPr>
          <p:nvPr/>
        </p:nvCxnSpPr>
        <p:spPr>
          <a:xfrm flipV="1">
            <a:off x="3615265" y="2860678"/>
            <a:ext cx="797579" cy="119855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04B19D37-6643-4503-95E1-5124C6834B12}"/>
              </a:ext>
            </a:extLst>
          </p:cNvPr>
          <p:cNvSpPr/>
          <p:nvPr/>
        </p:nvSpPr>
        <p:spPr>
          <a:xfrm>
            <a:off x="3230338" y="2333781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B</a:t>
            </a:r>
            <a:endParaRPr lang="nl-NL" sz="1200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D461DF9-D2FF-4727-BCE6-2A61B8420F0C}"/>
              </a:ext>
            </a:extLst>
          </p:cNvPr>
          <p:cNvSpPr/>
          <p:nvPr/>
        </p:nvSpPr>
        <p:spPr>
          <a:xfrm>
            <a:off x="3251280" y="1879797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C</a:t>
            </a:r>
            <a:endParaRPr lang="nl-NL" sz="1200" dirty="0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EA1416B-4389-404C-9E8E-5119EA5AC9D6}"/>
              </a:ext>
            </a:extLst>
          </p:cNvPr>
          <p:cNvCxnSpPr>
            <a:cxnSpLocks/>
            <a:stCxn id="113" idx="6"/>
          </p:cNvCxnSpPr>
          <p:nvPr/>
        </p:nvCxnSpPr>
        <p:spPr>
          <a:xfrm>
            <a:off x="3615265" y="2057351"/>
            <a:ext cx="1063348" cy="12378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4F34742A-DDF2-4CB6-905A-9CA2D80396C4}"/>
              </a:ext>
            </a:extLst>
          </p:cNvPr>
          <p:cNvCxnSpPr>
            <a:cxnSpLocks/>
            <a:stCxn id="95" idx="6"/>
          </p:cNvCxnSpPr>
          <p:nvPr/>
        </p:nvCxnSpPr>
        <p:spPr>
          <a:xfrm>
            <a:off x="3603582" y="1570690"/>
            <a:ext cx="1461129" cy="619197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1" name="Oval 120">
            <a:extLst>
              <a:ext uri="{FF2B5EF4-FFF2-40B4-BE49-F238E27FC236}">
                <a16:creationId xmlns:a16="http://schemas.microsoft.com/office/drawing/2014/main" id="{969F1ECF-B2C4-41FB-806C-9F3F23E679EB}"/>
              </a:ext>
            </a:extLst>
          </p:cNvPr>
          <p:cNvSpPr/>
          <p:nvPr/>
        </p:nvSpPr>
        <p:spPr>
          <a:xfrm>
            <a:off x="8761717" y="1062156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E</a:t>
            </a:r>
            <a:endParaRPr lang="nl-NL" sz="1200" dirty="0"/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8686C41-220A-46E4-8FFA-62D16E392989}"/>
              </a:ext>
            </a:extLst>
          </p:cNvPr>
          <p:cNvCxnSpPr>
            <a:cxnSpLocks/>
            <a:endCxn id="121" idx="2"/>
          </p:cNvCxnSpPr>
          <p:nvPr/>
        </p:nvCxnSpPr>
        <p:spPr>
          <a:xfrm flipV="1">
            <a:off x="7152150" y="1239710"/>
            <a:ext cx="1609567" cy="893716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323B02D4-7461-4084-A627-8409715CCCCE}"/>
              </a:ext>
            </a:extLst>
          </p:cNvPr>
          <p:cNvSpPr/>
          <p:nvPr/>
        </p:nvSpPr>
        <p:spPr>
          <a:xfrm>
            <a:off x="8753763" y="1556893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F</a:t>
            </a:r>
            <a:endParaRPr lang="nl-NL" sz="1200" dirty="0"/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11380C0-0F06-4708-AD46-F3010A6A8C06}"/>
              </a:ext>
            </a:extLst>
          </p:cNvPr>
          <p:cNvCxnSpPr>
            <a:cxnSpLocks/>
            <a:endCxn id="124" idx="2"/>
          </p:cNvCxnSpPr>
          <p:nvPr/>
        </p:nvCxnSpPr>
        <p:spPr>
          <a:xfrm flipV="1">
            <a:off x="7227562" y="1734447"/>
            <a:ext cx="1526201" cy="633166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7" name="Oval 126">
            <a:extLst>
              <a:ext uri="{FF2B5EF4-FFF2-40B4-BE49-F238E27FC236}">
                <a16:creationId xmlns:a16="http://schemas.microsoft.com/office/drawing/2014/main" id="{7CF2314F-1426-490E-A12A-9EB9E69B26DD}"/>
              </a:ext>
            </a:extLst>
          </p:cNvPr>
          <p:cNvSpPr/>
          <p:nvPr/>
        </p:nvSpPr>
        <p:spPr>
          <a:xfrm>
            <a:off x="8756351" y="2035058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G</a:t>
            </a:r>
            <a:endParaRPr lang="nl-NL" sz="1200" dirty="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91276533-4067-48AD-B608-6FE7970CCB6C}"/>
              </a:ext>
            </a:extLst>
          </p:cNvPr>
          <p:cNvSpPr/>
          <p:nvPr/>
        </p:nvSpPr>
        <p:spPr>
          <a:xfrm>
            <a:off x="8761717" y="2507240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H</a:t>
            </a:r>
            <a:endParaRPr lang="nl-NL" sz="1200" dirty="0"/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D9781C35-0F6D-409A-AD49-1DA8E69453A9}"/>
              </a:ext>
            </a:extLst>
          </p:cNvPr>
          <p:cNvCxnSpPr>
            <a:cxnSpLocks/>
            <a:endCxn id="127" idx="3"/>
          </p:cNvCxnSpPr>
          <p:nvPr/>
        </p:nvCxnSpPr>
        <p:spPr>
          <a:xfrm flipV="1">
            <a:off x="8186329" y="2338162"/>
            <a:ext cx="623326" cy="295668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1380102B-8313-4297-B6D7-F29A1EE61238}"/>
              </a:ext>
            </a:extLst>
          </p:cNvPr>
          <p:cNvSpPr/>
          <p:nvPr/>
        </p:nvSpPr>
        <p:spPr>
          <a:xfrm>
            <a:off x="7971378" y="5689396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9</a:t>
            </a:r>
            <a:endParaRPr lang="nl-NL" sz="1200" dirty="0"/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DCCFB040-9934-4B0F-B1C8-0034EBF9B9E5}"/>
              </a:ext>
            </a:extLst>
          </p:cNvPr>
          <p:cNvCxnSpPr>
            <a:cxnSpLocks/>
            <a:stCxn id="74" idx="4"/>
          </p:cNvCxnSpPr>
          <p:nvPr/>
        </p:nvCxnSpPr>
        <p:spPr>
          <a:xfrm flipH="1">
            <a:off x="8153370" y="3663338"/>
            <a:ext cx="32959" cy="4076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Oval 154">
            <a:extLst>
              <a:ext uri="{FF2B5EF4-FFF2-40B4-BE49-F238E27FC236}">
                <a16:creationId xmlns:a16="http://schemas.microsoft.com/office/drawing/2014/main" id="{C8201F2F-EBD6-4E73-9BD3-86DE124E0D85}"/>
              </a:ext>
            </a:extLst>
          </p:cNvPr>
          <p:cNvSpPr/>
          <p:nvPr/>
        </p:nvSpPr>
        <p:spPr>
          <a:xfrm>
            <a:off x="6002073" y="3300854"/>
            <a:ext cx="363985" cy="3551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16</a:t>
            </a:r>
            <a:endParaRPr lang="nl-NL" sz="1200" dirty="0"/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80FDE658-A2B2-4E34-ACEE-5D392E65BCBD}"/>
              </a:ext>
            </a:extLst>
          </p:cNvPr>
          <p:cNvCxnSpPr>
            <a:cxnSpLocks/>
            <a:stCxn id="155" idx="5"/>
          </p:cNvCxnSpPr>
          <p:nvPr/>
        </p:nvCxnSpPr>
        <p:spPr>
          <a:xfrm>
            <a:off x="6312754" y="3603958"/>
            <a:ext cx="518888" cy="2770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A42E1C0B-6644-4AD5-B8B5-B45B31F852AE}"/>
              </a:ext>
            </a:extLst>
          </p:cNvPr>
          <p:cNvSpPr/>
          <p:nvPr/>
        </p:nvSpPr>
        <p:spPr>
          <a:xfrm>
            <a:off x="8782594" y="2987280"/>
            <a:ext cx="363985" cy="355108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/>
              <a:t>I</a:t>
            </a:r>
            <a:endParaRPr lang="nl-NL" sz="1200" dirty="0"/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E92BA1F5-F8C5-455D-ABFC-5E42804598D2}"/>
              </a:ext>
            </a:extLst>
          </p:cNvPr>
          <p:cNvCxnSpPr>
            <a:cxnSpLocks/>
            <a:endCxn id="128" idx="2"/>
          </p:cNvCxnSpPr>
          <p:nvPr/>
        </p:nvCxnSpPr>
        <p:spPr>
          <a:xfrm flipV="1">
            <a:off x="8186328" y="2684794"/>
            <a:ext cx="575389" cy="93793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A74606ED-A51D-4D03-8336-44B7511B15A2}"/>
              </a:ext>
            </a:extLst>
          </p:cNvPr>
          <p:cNvCxnSpPr>
            <a:cxnSpLocks/>
            <a:endCxn id="166" idx="2"/>
          </p:cNvCxnSpPr>
          <p:nvPr/>
        </p:nvCxnSpPr>
        <p:spPr>
          <a:xfrm>
            <a:off x="7174046" y="2969944"/>
            <a:ext cx="1608548" cy="19489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C40BFF0-D4BF-4A09-B86C-7EC0C6444792}"/>
              </a:ext>
            </a:extLst>
          </p:cNvPr>
          <p:cNvSpPr txBox="1"/>
          <p:nvPr/>
        </p:nvSpPr>
        <p:spPr>
          <a:xfrm>
            <a:off x="9392892" y="1195348"/>
            <a:ext cx="3053895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Detector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Outer enclosure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Cooling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-box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lectronics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Sensor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Ionization chamber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External temperature sensor enclosure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Temperature sensor</a:t>
            </a:r>
          </a:p>
          <a:p>
            <a:pPr marL="457200" indent="-457200">
              <a:buClr>
                <a:srgbClr val="00B0F0"/>
              </a:buClr>
              <a:buFont typeface="+mj-lt"/>
              <a:buAutoNum type="alphaUcPeriod"/>
            </a:pPr>
            <a:r>
              <a:rPr lang="en-US" sz="1600" dirty="0">
                <a:solidFill>
                  <a:schemeClr val="bg2">
                    <a:lumMod val="65000"/>
                  </a:schemeClr>
                </a:solidFill>
              </a:rPr>
              <a:t>Aluminum entrance window</a:t>
            </a:r>
          </a:p>
          <a:p>
            <a:pPr marL="457200" indent="-457200">
              <a:buClr>
                <a:srgbClr val="F15D03"/>
              </a:buClr>
              <a:buFont typeface="+mj-lt"/>
              <a:buAutoNum type="alphaU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457200" indent="-457200">
              <a:buClr>
                <a:srgbClr val="F15D03"/>
              </a:buClr>
              <a:buFont typeface="+mj-lt"/>
              <a:buAutoNum type="alphaU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457200" indent="-457200">
              <a:buClr>
                <a:srgbClr val="F15D03"/>
              </a:buClr>
              <a:buFont typeface="+mj-lt"/>
              <a:buAutoNum type="alphaUcPeriod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  <a:p>
            <a:pPr marL="742950" lvl="1" indent="-285750">
              <a:buClr>
                <a:srgbClr val="F15D03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E4FEE34A-1224-4EDD-B019-88ACADEDC0D9}"/>
              </a:ext>
            </a:extLst>
          </p:cNvPr>
          <p:cNvSpPr txBox="1">
            <a:spLocks/>
          </p:cNvSpPr>
          <p:nvPr/>
        </p:nvSpPr>
        <p:spPr>
          <a:xfrm>
            <a:off x="476440" y="288395"/>
            <a:ext cx="8330210" cy="768048"/>
          </a:xfrm>
          <a:prstGeom prst="rect">
            <a:avLst/>
          </a:prstGeom>
        </p:spPr>
        <p:txBody>
          <a:bodyPr vert="horz"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Modular Sensor Head Enclosure </a:t>
            </a:r>
            <a:br>
              <a:rPr lang="en-US" sz="2800" dirty="0"/>
            </a:br>
            <a:r>
              <a:rPr lang="en-US" sz="1800" dirty="0">
                <a:solidFill>
                  <a:schemeClr val="tx1"/>
                </a:solidFill>
              </a:rPr>
              <a:t>Structural Decomposition Overview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854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4073B7-CA58-47E0-B9A7-9A7C97C49A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ork Breakdow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5959F-7BCE-446E-8990-E7CB8AE7FD7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50863" y="1584000"/>
            <a:ext cx="11448994" cy="4500000"/>
          </a:xfrm>
        </p:spPr>
        <p:txBody>
          <a:bodyPr/>
          <a:lstStyle/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Summary of content and goal of each Sioux work package present in Engineering Decomposition, i.e.;</a:t>
            </a:r>
          </a:p>
          <a:p>
            <a:pPr lvl="0"/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[S-WP1]: …</a:t>
            </a:r>
          </a:p>
          <a:p>
            <a:r>
              <a:rPr lang="en-US" sz="2400">
                <a:solidFill>
                  <a:schemeClr val="bg2">
                    <a:lumMod val="65000"/>
                  </a:schemeClr>
                </a:solidFill>
              </a:rPr>
              <a:t>[S-WP2]: …</a:t>
            </a:r>
          </a:p>
          <a:p>
            <a:pPr lvl="0"/>
            <a:endParaRPr lang="en-US" sz="240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81CDB5-EDAC-4BF2-902D-AB1783F22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DB763-12CC-464D-90CD-5DE35E23307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AB73FB-7C0E-4851-960C-E9DF89FB8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ea typeface="Open Sans" panose="020B0606030504020204" pitchFamily="34" charset="0"/>
                <a:cs typeface="Open Sans" panose="020B0606030504020204" pitchFamily="34" charset="0"/>
              </a:rPr>
              <a:t>© Sioux 2021 | Confidentia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76E104-EF42-4704-9E22-6A5D9C6300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772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Sioux style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15D03"/>
      </a:accent1>
      <a:accent2>
        <a:srgbClr val="AE2230"/>
      </a:accent2>
      <a:accent3>
        <a:srgbClr val="6E3695"/>
      </a:accent3>
      <a:accent4>
        <a:srgbClr val="00AEEF"/>
      </a:accent4>
      <a:accent5>
        <a:srgbClr val="6CBAC7"/>
      </a:accent5>
      <a:accent6>
        <a:srgbClr val="70BF43"/>
      </a:accent6>
      <a:hlink>
        <a:srgbClr val="F15D03"/>
      </a:hlink>
      <a:folHlink>
        <a:srgbClr val="6CBA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rgbClr val="F15D03"/>
          </a:buClr>
          <a:buFont typeface="Wingdings" panose="05000000000000000000" pitchFamily="2" charset="2"/>
          <a:buChar char="§"/>
          <a:defRPr sz="26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Sioux_presentation_16x9.potx" id="{A4D03578-764C-42D2-A1FC-7C7293C2C9BC}" vid="{567566E4-BF1D-4183-8F1D-0B55C74BD853}"/>
    </a:ext>
  </a:extLst>
</a:theme>
</file>

<file path=ppt/theme/theme2.xml><?xml version="1.0" encoding="utf-8"?>
<a:theme xmlns:a="http://schemas.openxmlformats.org/drawingml/2006/main" name="Custom Design">
  <a:themeElements>
    <a:clrScheme name="Sioux">
      <a:dk1>
        <a:sysClr val="windowText" lastClr="000000"/>
      </a:dk1>
      <a:lt1>
        <a:srgbClr val="FFFFFF"/>
      </a:lt1>
      <a:dk2>
        <a:srgbClr val="324D5A"/>
      </a:dk2>
      <a:lt2>
        <a:srgbClr val="CCD2D6"/>
      </a:lt2>
      <a:accent1>
        <a:srgbClr val="F15D03"/>
      </a:accent1>
      <a:accent2>
        <a:srgbClr val="70BF43"/>
      </a:accent2>
      <a:accent3>
        <a:srgbClr val="00AEEF"/>
      </a:accent3>
      <a:accent4>
        <a:srgbClr val="CCD2D6"/>
      </a:accent4>
      <a:accent5>
        <a:srgbClr val="AE2230"/>
      </a:accent5>
      <a:accent6>
        <a:srgbClr val="324D5A"/>
      </a:accent6>
      <a:hlink>
        <a:srgbClr val="AE2230"/>
      </a:hlink>
      <a:folHlink>
        <a:srgbClr val="5D6A7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oux_presentation_16x9.potx" id="{A4D03578-764C-42D2-A1FC-7C7293C2C9BC}" vid="{8A9A55D6-460C-4F21-886A-EB3CFEACE74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petence xmlns="e82353ca-d041-4b15-9c3a-0e3df27b213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72A30497CF6F4AA12E81C381E4CC76" ma:contentTypeVersion="11" ma:contentTypeDescription="Create a new document." ma:contentTypeScope="" ma:versionID="170fa8b707c788d30fc76f6069875d23">
  <xsd:schema xmlns:xsd="http://www.w3.org/2001/XMLSchema" xmlns:xs="http://www.w3.org/2001/XMLSchema" xmlns:p="http://schemas.microsoft.com/office/2006/metadata/properties" xmlns:ns2="e82353ca-d041-4b15-9c3a-0e3df27b213d" xmlns:ns3="0a04d777-2b0b-492f-b3a9-86847f52fbc9" targetNamespace="http://schemas.microsoft.com/office/2006/metadata/properties" ma:root="true" ma:fieldsID="f34f1bd28db3c80e0b03257c2f5d0b0e" ns2:_="" ns3:_="">
    <xsd:import namespace="e82353ca-d041-4b15-9c3a-0e3df27b213d"/>
    <xsd:import namespace="0a04d777-2b0b-492f-b3a9-86847f52fbc9"/>
    <xsd:element name="properties">
      <xsd:complexType>
        <xsd:sequence>
          <xsd:element name="documentManagement">
            <xsd:complexType>
              <xsd:all>
                <xsd:element ref="ns2:Competence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2353ca-d041-4b15-9c3a-0e3df27b213d" elementFormDefault="qualified">
    <xsd:import namespace="http://schemas.microsoft.com/office/2006/documentManagement/types"/>
    <xsd:import namespace="http://schemas.microsoft.com/office/infopath/2007/PartnerControls"/>
    <xsd:element name="Competence" ma:index="8" nillable="true" ma:displayName="Competence" ma:format="Dropdown" ma:internalName="Competence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04d777-2b0b-492f-b3a9-86847f52fbc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7F640A-F0F2-4218-B1EE-F66F0D7D8E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8EBB52-A601-40A8-A1C8-7557C964B2E6}">
  <ds:schemaRefs>
    <ds:schemaRef ds:uri="0a04d777-2b0b-492f-b3a9-86847f52fbc9"/>
    <ds:schemaRef ds:uri="e82353ca-d041-4b15-9c3a-0e3df27b213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7587016-5C9C-451E-B2B5-00F55801E59B}">
  <ds:schemaRefs>
    <ds:schemaRef ds:uri="0a04d777-2b0b-492f-b3a9-86847f52fbc9"/>
    <ds:schemaRef ds:uri="e82353ca-d041-4b15-9c3a-0e3df27b21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oux_16x9</Template>
  <TotalTime>0</TotalTime>
  <Words>2320</Words>
  <Application>Microsoft Office PowerPoint</Application>
  <PresentationFormat>Widescreen</PresentationFormat>
  <Paragraphs>346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Wingdings</vt:lpstr>
      <vt:lpstr>Office Theme</vt:lpstr>
      <vt:lpstr>Custom Design</vt:lpstr>
      <vt:lpstr>think-cell Slide</vt:lpstr>
      <vt:lpstr>Microsoft Excel Worksheet</vt:lpstr>
      <vt:lpstr>Worksheet</vt:lpstr>
      <vt:lpstr>PowerPoint Presentation</vt:lpstr>
      <vt:lpstr>TFS Sensor head enclosure Development of robust and cost-effective sensor head enclosure for sheet gauging system with high thermal stability</vt:lpstr>
      <vt:lpstr>Modular Sensor Head Enclosure  for TFS Xray Thickness Gauges enabling 2nd source x-ray suppliers</vt:lpstr>
      <vt:lpstr>Project Goal, Scope, and Impact</vt:lpstr>
      <vt:lpstr>Project Goal, Scope, and Impact</vt:lpstr>
      <vt:lpstr>Business Decomposition Overview</vt:lpstr>
      <vt:lpstr>Engineering Decomposition</vt:lpstr>
      <vt:lpstr>PowerPoint Presentation</vt:lpstr>
      <vt:lpstr>Work Breakdown</vt:lpstr>
      <vt:lpstr>Estimation on Engineering Decomposition</vt:lpstr>
      <vt:lpstr>Functional Decomposition</vt:lpstr>
      <vt:lpstr>Estimate Cost of Goods</vt:lpstr>
      <vt:lpstr>Project Decomposition Overview</vt:lpstr>
      <vt:lpstr>Milestones and Key Deliverables </vt:lpstr>
      <vt:lpstr>Visual Time Line Planning</vt:lpstr>
      <vt:lpstr>Estimation on Staffing</vt:lpstr>
      <vt:lpstr>Regulatory Demands</vt:lpstr>
      <vt:lpstr>PowerPoint Presentation</vt:lpstr>
      <vt:lpstr>Contacts for 3IAB</vt:lpstr>
      <vt:lpstr>Source of  your technology</vt:lpstr>
    </vt:vector>
  </TitlesOfParts>
  <Company>Siou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sya Janssen</dc:creator>
  <cp:lastModifiedBy>Rene Roelands</cp:lastModifiedBy>
  <cp:revision>27</cp:revision>
  <cp:lastPrinted>2019-05-28T07:15:45Z</cp:lastPrinted>
  <dcterms:created xsi:type="dcterms:W3CDTF">2020-07-06T08:15:52Z</dcterms:created>
  <dcterms:modified xsi:type="dcterms:W3CDTF">2022-10-25T14:5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72A30497CF6F4AA12E81C381E4CC76</vt:lpwstr>
  </property>
  <property fmtid="{D5CDD505-2E9C-101B-9397-08002B2CF9AE}" pid="3" name="Order">
    <vt:r8>184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